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5458" r:id="rId6"/>
    <p:sldMasterId id="2147485462" r:id="rId7"/>
    <p:sldMasterId id="2147485466" r:id="rId8"/>
  </p:sldMasterIdLst>
  <p:notesMasterIdLst>
    <p:notesMasterId r:id="rId20"/>
  </p:notesMasterIdLst>
  <p:handoutMasterIdLst>
    <p:handoutMasterId r:id="rId21"/>
  </p:handoutMasterIdLst>
  <p:sldIdLst>
    <p:sldId id="1369" r:id="rId9"/>
    <p:sldId id="1387" r:id="rId10"/>
    <p:sldId id="1378" r:id="rId11"/>
    <p:sldId id="1373" r:id="rId12"/>
    <p:sldId id="1388" r:id="rId13"/>
    <p:sldId id="1380" r:id="rId14"/>
    <p:sldId id="1376" r:id="rId15"/>
    <p:sldId id="1390" r:id="rId16"/>
    <p:sldId id="1391" r:id="rId17"/>
    <p:sldId id="1393" r:id="rId18"/>
    <p:sldId id="1392" r:id="rId19"/>
  </p:sldIdLst>
  <p:sldSz cx="8961438" cy="6721475"/>
  <p:notesSz cx="6794500" cy="9906000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4025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1225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68425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5625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1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LKER Laurent" initials="WL" lastIdx="30" clrIdx="0">
    <p:extLst>
      <p:ext uri="{19B8F6BF-5375-455C-9EA6-DF929625EA0E}">
        <p15:presenceInfo xmlns:p15="http://schemas.microsoft.com/office/powerpoint/2012/main" userId="WALKER Laurent" providerId="None"/>
      </p:ext>
    </p:extLst>
  </p:cmAuthor>
  <p:cmAuthor id="2" name="Alexandre BARZASI" initials="AB" lastIdx="4" clrIdx="1">
    <p:extLst>
      <p:ext uri="{19B8F6BF-5375-455C-9EA6-DF929625EA0E}">
        <p15:presenceInfo xmlns:p15="http://schemas.microsoft.com/office/powerpoint/2012/main" userId="Alexandre BARZAS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FF0000"/>
    <a:srgbClr val="CC3300"/>
    <a:srgbClr val="FFCC33"/>
    <a:srgbClr val="2DC8FF"/>
    <a:srgbClr val="FEE6E6"/>
    <a:srgbClr val="FC7404"/>
    <a:srgbClr val="FF9900"/>
    <a:srgbClr val="008000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Style moyen 4 - Accentuation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Style moyen 3 - Accentuation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A488322-F2BA-4B5B-9748-0D474271808F}" styleName="Style moyen 3 - 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Style moyen 3 - 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Style moyen 1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84E427A-3D55-4303-BF80-6455036E1DE7}" styleName="Style à thème 1 - Accentuation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06799F8-075E-4A3A-A7F6-7FBC6576F1A4}" styleName="Style à thème 2 - Accentuation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8D230F3-CF80-4859-8CE7-A43EE81993B5}" styleName="Style léger 1 - Accentuation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4434" autoAdjust="0"/>
  </p:normalViewPr>
  <p:slideViewPr>
    <p:cSldViewPr snapToGrid="0">
      <p:cViewPr varScale="1">
        <p:scale>
          <a:sx n="72" d="100"/>
          <a:sy n="72" d="100"/>
        </p:scale>
        <p:origin x="1374" y="12"/>
      </p:cViewPr>
      <p:guideLst>
        <p:guide orient="horz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2964" y="36"/>
      </p:cViewPr>
      <p:guideLst>
        <p:guide orient="horz" pos="3121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commentAuthors" Target="commentAuthor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10210022"/>
            <a:ext cx="2854325" cy="535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6" tIns="45923" rIns="91846" bIns="45923" numCol="1" anchor="b" anchorCtr="0" compatLnSpc="1">
            <a:prstTxWarp prst="textNoShape">
              <a:avLst/>
            </a:prstTxWarp>
          </a:bodyPr>
          <a:lstStyle>
            <a:lvl1pPr defTabSz="915988">
              <a:defRPr smtClean="0">
                <a:ea typeface="SimSun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30627" y="10210022"/>
            <a:ext cx="2854325" cy="535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6" tIns="45923" rIns="91846" bIns="45923" numCol="1" anchor="b" anchorCtr="0" compatLnSpc="1">
            <a:prstTxWarp prst="textNoShape">
              <a:avLst/>
            </a:prstTxWarp>
          </a:bodyPr>
          <a:lstStyle>
            <a:lvl1pPr algn="r" defTabSz="915988">
              <a:defRPr smtClean="0">
                <a:ea typeface="SimSun" pitchFamily="2" charset="-122"/>
              </a:defRPr>
            </a:lvl1pPr>
          </a:lstStyle>
          <a:p>
            <a:pPr>
              <a:defRPr/>
            </a:pPr>
            <a:fld id="{60B1AE8C-AE75-45FB-A9F1-4F68E485EC59}" type="slidenum">
              <a:rPr lang="en-US" altLang="zh-CN"/>
              <a:pPr>
                <a:defRPr/>
              </a:pPr>
              <a:t>‹N°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1132904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495300" y="622300"/>
            <a:ext cx="5811838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50863" y="5323525"/>
            <a:ext cx="5789612" cy="1227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/>
              <a:t>Click to edit Master text styles</a:t>
            </a:r>
          </a:p>
          <a:p>
            <a:pPr lvl="1"/>
            <a:r>
              <a:rPr lang="en-US" altLang="ja-JP" noProof="0"/>
              <a:t>Second level</a:t>
            </a:r>
          </a:p>
          <a:p>
            <a:pPr lvl="2"/>
            <a:r>
              <a:rPr lang="en-US" altLang="ja-JP" noProof="0"/>
              <a:t>Third level</a:t>
            </a:r>
          </a:p>
          <a:p>
            <a:pPr lvl="3"/>
            <a:r>
              <a:rPr lang="en-US" altLang="ja-JP" noProof="0"/>
              <a:t>Fourth level</a:t>
            </a:r>
          </a:p>
          <a:p>
            <a:pPr lvl="4"/>
            <a:r>
              <a:rPr lang="en-US" altLang="ja-JP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064251" y="9527044"/>
            <a:ext cx="538163" cy="184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5988">
              <a:defRPr smtClean="0"/>
            </a:lvl1pPr>
          </a:lstStyle>
          <a:p>
            <a:pPr>
              <a:defRPr/>
            </a:pPr>
            <a:fld id="{130C8712-AA4E-4B5B-AC66-1DB04C3B08BD}" type="slidenum">
              <a:rPr lang="ja-JP" altLang="en-US"/>
              <a:pPr>
                <a:defRPr/>
              </a:pPr>
              <a:t>‹N°›</a:t>
            </a:fld>
            <a:endParaRPr lang="en-US" altLang="ja-JP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303963" y="110841"/>
            <a:ext cx="298450" cy="12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mtClean="0"/>
            </a:lvl1pPr>
          </a:lstStyle>
          <a:p>
            <a:pPr>
              <a:defRPr/>
            </a:pP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204678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4300" indent="-112713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296863" indent="-177800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3863" indent="-122238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39750" indent="-111125" algn="l" defTabSz="89217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274" algn="l" defTabSz="914109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2327" algn="l" defTabSz="914109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199382" algn="l" defTabSz="914109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6437" algn="l" defTabSz="914109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550863" y="5323525"/>
            <a:ext cx="5789612" cy="246221"/>
          </a:xfrm>
        </p:spPr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0C8712-AA4E-4B5B-AC66-1DB04C3B08BD}" type="slidenum">
              <a:rPr lang="ja-JP" altLang="en-US" smtClean="0"/>
              <a:pPr>
                <a:defRPr/>
              </a:pPr>
              <a:t>0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65779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oleObject" Target="../embeddings/oleObject1.bin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9"/>
          <p:cNvSpPr>
            <a:spLocks noChangeArrowheads="1"/>
          </p:cNvSpPr>
          <p:nvPr userDrawn="1"/>
        </p:nvSpPr>
        <p:spPr bwMode="auto">
          <a:xfrm>
            <a:off x="236483" y="3943682"/>
            <a:ext cx="8488473" cy="2225106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7210" tIns="33606" rIns="67210" bIns="33606" anchor="ctr"/>
          <a:lstStyle/>
          <a:p>
            <a:endParaRPr lang="fr-FR" sz="1400" b="0">
              <a:solidFill>
                <a:schemeClr val="tx1"/>
              </a:solidFill>
            </a:endParaRPr>
          </a:p>
        </p:txBody>
      </p:sp>
      <p:sp>
        <p:nvSpPr>
          <p:cNvPr id="4" name="Rectangle 43"/>
          <p:cNvSpPr>
            <a:spLocks noChangeArrowheads="1"/>
          </p:cNvSpPr>
          <p:nvPr userDrawn="1"/>
        </p:nvSpPr>
        <p:spPr bwMode="auto">
          <a:xfrm>
            <a:off x="236485" y="235222"/>
            <a:ext cx="8488473" cy="3664893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67202" tIns="33602" rIns="67202" bIns="33602" anchor="ctr"/>
          <a:lstStyle/>
          <a:p>
            <a:endParaRPr lang="fr-FR" sz="1400" b="0">
              <a:solidFill>
                <a:schemeClr val="tx1"/>
              </a:solidFill>
            </a:endParaRPr>
          </a:p>
        </p:txBody>
      </p:sp>
      <p:sp>
        <p:nvSpPr>
          <p:cNvPr id="5" name="Rectangle 41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236484" y="236500"/>
            <a:ext cx="8488473" cy="36636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70358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cap="all" baseline="0">
                <a:latin typeface="+mn-lt"/>
              </a:defRPr>
            </a:lvl1pPr>
          </a:lstStyle>
          <a:p>
            <a:pPr lvl="0"/>
            <a:r>
              <a:rPr lang="fr-FR" dirty="0"/>
              <a:t>PROJECT NAM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2240758" y="235222"/>
            <a:ext cx="4479925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b="1" kern="0" dirty="0" err="1">
                <a:solidFill>
                  <a:schemeClr val="tx1"/>
                </a:solidFill>
              </a:rPr>
              <a:t>Déploiement</a:t>
            </a:r>
            <a:r>
              <a:rPr lang="en-US" altLang="ja-JP" sz="2000" b="1" kern="0" baseline="0" dirty="0">
                <a:solidFill>
                  <a:schemeClr val="tx1"/>
                </a:solidFill>
              </a:rPr>
              <a:t> DFM Web</a:t>
            </a:r>
            <a:endParaRPr lang="ja-JP" altLang="en-US" sz="2000" b="1" kern="0" dirty="0">
              <a:solidFill>
                <a:schemeClr val="tx1"/>
              </a:solidFill>
            </a:endParaRPr>
          </a:p>
        </p:txBody>
      </p:sp>
      <p:grpSp>
        <p:nvGrpSpPr>
          <p:cNvPr id="8" name="Groupe 7"/>
          <p:cNvGrpSpPr>
            <a:grpSpLocks noChangeAspect="1"/>
          </p:cNvGrpSpPr>
          <p:nvPr userDrawn="1"/>
        </p:nvGrpSpPr>
        <p:grpSpPr>
          <a:xfrm>
            <a:off x="6609203" y="6372994"/>
            <a:ext cx="2116875" cy="221387"/>
            <a:chOff x="7712075" y="4803775"/>
            <a:chExt cx="1214438" cy="127001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7712075" y="4803775"/>
              <a:ext cx="80963" cy="127000"/>
            </a:xfrm>
            <a:custGeom>
              <a:avLst/>
              <a:gdLst>
                <a:gd name="T0" fmla="*/ 105 w 153"/>
                <a:gd name="T1" fmla="*/ 73 h 240"/>
                <a:gd name="T2" fmla="*/ 103 w 153"/>
                <a:gd name="T3" fmla="*/ 60 h 240"/>
                <a:gd name="T4" fmla="*/ 99 w 153"/>
                <a:gd name="T5" fmla="*/ 48 h 240"/>
                <a:gd name="T6" fmla="*/ 90 w 153"/>
                <a:gd name="T7" fmla="*/ 37 h 240"/>
                <a:gd name="T8" fmla="*/ 78 w 153"/>
                <a:gd name="T9" fmla="*/ 34 h 240"/>
                <a:gd name="T10" fmla="*/ 71 w 153"/>
                <a:gd name="T11" fmla="*/ 35 h 240"/>
                <a:gd name="T12" fmla="*/ 64 w 153"/>
                <a:gd name="T13" fmla="*/ 38 h 240"/>
                <a:gd name="T14" fmla="*/ 59 w 153"/>
                <a:gd name="T15" fmla="*/ 45 h 240"/>
                <a:gd name="T16" fmla="*/ 51 w 153"/>
                <a:gd name="T17" fmla="*/ 64 h 240"/>
                <a:gd name="T18" fmla="*/ 47 w 153"/>
                <a:gd name="T19" fmla="*/ 95 h 240"/>
                <a:gd name="T20" fmla="*/ 47 w 153"/>
                <a:gd name="T21" fmla="*/ 115 h 240"/>
                <a:gd name="T22" fmla="*/ 48 w 153"/>
                <a:gd name="T23" fmla="*/ 153 h 240"/>
                <a:gd name="T24" fmla="*/ 53 w 153"/>
                <a:gd name="T25" fmla="*/ 181 h 240"/>
                <a:gd name="T26" fmla="*/ 60 w 153"/>
                <a:gd name="T27" fmla="*/ 196 h 240"/>
                <a:gd name="T28" fmla="*/ 66 w 153"/>
                <a:gd name="T29" fmla="*/ 203 h 240"/>
                <a:gd name="T30" fmla="*/ 74 w 153"/>
                <a:gd name="T31" fmla="*/ 206 h 240"/>
                <a:gd name="T32" fmla="*/ 79 w 153"/>
                <a:gd name="T33" fmla="*/ 206 h 240"/>
                <a:gd name="T34" fmla="*/ 88 w 153"/>
                <a:gd name="T35" fmla="*/ 204 h 240"/>
                <a:gd name="T36" fmla="*/ 97 w 153"/>
                <a:gd name="T37" fmla="*/ 196 h 240"/>
                <a:gd name="T38" fmla="*/ 104 w 153"/>
                <a:gd name="T39" fmla="*/ 185 h 240"/>
                <a:gd name="T40" fmla="*/ 107 w 153"/>
                <a:gd name="T41" fmla="*/ 169 h 240"/>
                <a:gd name="T42" fmla="*/ 77 w 153"/>
                <a:gd name="T43" fmla="*/ 146 h 240"/>
                <a:gd name="T44" fmla="*/ 153 w 153"/>
                <a:gd name="T45" fmla="*/ 111 h 240"/>
                <a:gd name="T46" fmla="*/ 118 w 153"/>
                <a:gd name="T47" fmla="*/ 236 h 240"/>
                <a:gd name="T48" fmla="*/ 117 w 153"/>
                <a:gd name="T49" fmla="*/ 215 h 240"/>
                <a:gd name="T50" fmla="*/ 113 w 153"/>
                <a:gd name="T51" fmla="*/ 221 h 240"/>
                <a:gd name="T52" fmla="*/ 103 w 153"/>
                <a:gd name="T53" fmla="*/ 231 h 240"/>
                <a:gd name="T54" fmla="*/ 91 w 153"/>
                <a:gd name="T55" fmla="*/ 237 h 240"/>
                <a:gd name="T56" fmla="*/ 77 w 153"/>
                <a:gd name="T57" fmla="*/ 240 h 240"/>
                <a:gd name="T58" fmla="*/ 69 w 153"/>
                <a:gd name="T59" fmla="*/ 240 h 240"/>
                <a:gd name="T60" fmla="*/ 50 w 153"/>
                <a:gd name="T61" fmla="*/ 238 h 240"/>
                <a:gd name="T62" fmla="*/ 33 w 153"/>
                <a:gd name="T63" fmla="*/ 233 h 240"/>
                <a:gd name="T64" fmla="*/ 21 w 153"/>
                <a:gd name="T65" fmla="*/ 223 h 240"/>
                <a:gd name="T66" fmla="*/ 13 w 153"/>
                <a:gd name="T67" fmla="*/ 209 h 240"/>
                <a:gd name="T68" fmla="*/ 6 w 153"/>
                <a:gd name="T69" fmla="*/ 191 h 240"/>
                <a:gd name="T70" fmla="*/ 3 w 153"/>
                <a:gd name="T71" fmla="*/ 170 h 240"/>
                <a:gd name="T72" fmla="*/ 0 w 153"/>
                <a:gd name="T73" fmla="*/ 117 h 240"/>
                <a:gd name="T74" fmla="*/ 1 w 153"/>
                <a:gd name="T75" fmla="*/ 90 h 240"/>
                <a:gd name="T76" fmla="*/ 4 w 153"/>
                <a:gd name="T77" fmla="*/ 66 h 240"/>
                <a:gd name="T78" fmla="*/ 9 w 153"/>
                <a:gd name="T79" fmla="*/ 46 h 240"/>
                <a:gd name="T80" fmla="*/ 16 w 153"/>
                <a:gd name="T81" fmla="*/ 29 h 240"/>
                <a:gd name="T82" fmla="*/ 27 w 153"/>
                <a:gd name="T83" fmla="*/ 16 h 240"/>
                <a:gd name="T84" fmla="*/ 40 w 153"/>
                <a:gd name="T85" fmla="*/ 7 h 240"/>
                <a:gd name="T86" fmla="*/ 58 w 153"/>
                <a:gd name="T87" fmla="*/ 2 h 240"/>
                <a:gd name="T88" fmla="*/ 78 w 153"/>
                <a:gd name="T89" fmla="*/ 0 h 240"/>
                <a:gd name="T90" fmla="*/ 87 w 153"/>
                <a:gd name="T91" fmla="*/ 0 h 240"/>
                <a:gd name="T92" fmla="*/ 103 w 153"/>
                <a:gd name="T93" fmla="*/ 2 h 240"/>
                <a:gd name="T94" fmla="*/ 117 w 153"/>
                <a:gd name="T95" fmla="*/ 7 h 240"/>
                <a:gd name="T96" fmla="*/ 129 w 153"/>
                <a:gd name="T97" fmla="*/ 14 h 240"/>
                <a:gd name="T98" fmla="*/ 137 w 153"/>
                <a:gd name="T99" fmla="*/ 23 h 240"/>
                <a:gd name="T100" fmla="*/ 144 w 153"/>
                <a:gd name="T101" fmla="*/ 35 h 240"/>
                <a:gd name="T102" fmla="*/ 148 w 153"/>
                <a:gd name="T103" fmla="*/ 49 h 240"/>
                <a:gd name="T104" fmla="*/ 150 w 153"/>
                <a:gd name="T105" fmla="*/ 7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3" h="240">
                  <a:moveTo>
                    <a:pt x="105" y="73"/>
                  </a:moveTo>
                  <a:lnTo>
                    <a:pt x="105" y="73"/>
                  </a:lnTo>
                  <a:lnTo>
                    <a:pt x="104" y="67"/>
                  </a:lnTo>
                  <a:lnTo>
                    <a:pt x="103" y="60"/>
                  </a:lnTo>
                  <a:lnTo>
                    <a:pt x="101" y="53"/>
                  </a:lnTo>
                  <a:lnTo>
                    <a:pt x="99" y="48"/>
                  </a:lnTo>
                  <a:lnTo>
                    <a:pt x="95" y="42"/>
                  </a:lnTo>
                  <a:lnTo>
                    <a:pt x="90" y="37"/>
                  </a:lnTo>
                  <a:lnTo>
                    <a:pt x="85" y="35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1" y="35"/>
                  </a:lnTo>
                  <a:lnTo>
                    <a:pt x="67" y="36"/>
                  </a:lnTo>
                  <a:lnTo>
                    <a:pt x="64" y="38"/>
                  </a:lnTo>
                  <a:lnTo>
                    <a:pt x="61" y="42"/>
                  </a:lnTo>
                  <a:lnTo>
                    <a:pt x="59" y="45"/>
                  </a:lnTo>
                  <a:lnTo>
                    <a:pt x="54" y="53"/>
                  </a:lnTo>
                  <a:lnTo>
                    <a:pt x="51" y="64"/>
                  </a:lnTo>
                  <a:lnTo>
                    <a:pt x="49" y="78"/>
                  </a:lnTo>
                  <a:lnTo>
                    <a:pt x="47" y="9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35"/>
                  </a:lnTo>
                  <a:lnTo>
                    <a:pt x="48" y="153"/>
                  </a:lnTo>
                  <a:lnTo>
                    <a:pt x="50" y="168"/>
                  </a:lnTo>
                  <a:lnTo>
                    <a:pt x="53" y="181"/>
                  </a:lnTo>
                  <a:lnTo>
                    <a:pt x="57" y="192"/>
                  </a:lnTo>
                  <a:lnTo>
                    <a:pt x="60" y="196"/>
                  </a:lnTo>
                  <a:lnTo>
                    <a:pt x="63" y="199"/>
                  </a:lnTo>
                  <a:lnTo>
                    <a:pt x="66" y="203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lnTo>
                    <a:pt x="83" y="206"/>
                  </a:lnTo>
                  <a:lnTo>
                    <a:pt x="88" y="204"/>
                  </a:lnTo>
                  <a:lnTo>
                    <a:pt x="93" y="201"/>
                  </a:lnTo>
                  <a:lnTo>
                    <a:pt x="97" y="196"/>
                  </a:lnTo>
                  <a:lnTo>
                    <a:pt x="101" y="191"/>
                  </a:lnTo>
                  <a:lnTo>
                    <a:pt x="104" y="185"/>
                  </a:lnTo>
                  <a:lnTo>
                    <a:pt x="107" y="178"/>
                  </a:lnTo>
                  <a:lnTo>
                    <a:pt x="107" y="169"/>
                  </a:lnTo>
                  <a:lnTo>
                    <a:pt x="107" y="146"/>
                  </a:lnTo>
                  <a:lnTo>
                    <a:pt x="77" y="146"/>
                  </a:lnTo>
                  <a:lnTo>
                    <a:pt x="77" y="111"/>
                  </a:lnTo>
                  <a:lnTo>
                    <a:pt x="153" y="111"/>
                  </a:lnTo>
                  <a:lnTo>
                    <a:pt x="153" y="236"/>
                  </a:lnTo>
                  <a:lnTo>
                    <a:pt x="118" y="236"/>
                  </a:lnTo>
                  <a:lnTo>
                    <a:pt x="118" y="215"/>
                  </a:lnTo>
                  <a:lnTo>
                    <a:pt x="117" y="215"/>
                  </a:lnTo>
                  <a:lnTo>
                    <a:pt x="117" y="215"/>
                  </a:lnTo>
                  <a:lnTo>
                    <a:pt x="113" y="221"/>
                  </a:lnTo>
                  <a:lnTo>
                    <a:pt x="108" y="226"/>
                  </a:lnTo>
                  <a:lnTo>
                    <a:pt x="103" y="231"/>
                  </a:lnTo>
                  <a:lnTo>
                    <a:pt x="97" y="234"/>
                  </a:lnTo>
                  <a:lnTo>
                    <a:pt x="91" y="237"/>
                  </a:lnTo>
                  <a:lnTo>
                    <a:pt x="84" y="239"/>
                  </a:lnTo>
                  <a:lnTo>
                    <a:pt x="77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59" y="240"/>
                  </a:lnTo>
                  <a:lnTo>
                    <a:pt x="50" y="238"/>
                  </a:lnTo>
                  <a:lnTo>
                    <a:pt x="41" y="236"/>
                  </a:lnTo>
                  <a:lnTo>
                    <a:pt x="33" y="233"/>
                  </a:lnTo>
                  <a:lnTo>
                    <a:pt x="27" y="228"/>
                  </a:lnTo>
                  <a:lnTo>
                    <a:pt x="21" y="223"/>
                  </a:lnTo>
                  <a:lnTo>
                    <a:pt x="17" y="217"/>
                  </a:lnTo>
                  <a:lnTo>
                    <a:pt x="13" y="209"/>
                  </a:lnTo>
                  <a:lnTo>
                    <a:pt x="9" y="201"/>
                  </a:lnTo>
                  <a:lnTo>
                    <a:pt x="6" y="191"/>
                  </a:lnTo>
                  <a:lnTo>
                    <a:pt x="4" y="181"/>
                  </a:lnTo>
                  <a:lnTo>
                    <a:pt x="3" y="170"/>
                  </a:lnTo>
                  <a:lnTo>
                    <a:pt x="1" y="14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1" y="90"/>
                  </a:lnTo>
                  <a:lnTo>
                    <a:pt x="2" y="78"/>
                  </a:lnTo>
                  <a:lnTo>
                    <a:pt x="4" y="66"/>
                  </a:lnTo>
                  <a:lnTo>
                    <a:pt x="6" y="56"/>
                  </a:lnTo>
                  <a:lnTo>
                    <a:pt x="9" y="46"/>
                  </a:lnTo>
                  <a:lnTo>
                    <a:pt x="12" y="37"/>
                  </a:lnTo>
                  <a:lnTo>
                    <a:pt x="16" y="29"/>
                  </a:lnTo>
                  <a:lnTo>
                    <a:pt x="21" y="22"/>
                  </a:lnTo>
                  <a:lnTo>
                    <a:pt x="27" y="16"/>
                  </a:lnTo>
                  <a:lnTo>
                    <a:pt x="33" y="11"/>
                  </a:lnTo>
                  <a:lnTo>
                    <a:pt x="40" y="7"/>
                  </a:lnTo>
                  <a:lnTo>
                    <a:pt x="49" y="4"/>
                  </a:lnTo>
                  <a:lnTo>
                    <a:pt x="58" y="2"/>
                  </a:lnTo>
                  <a:lnTo>
                    <a:pt x="67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7" y="0"/>
                  </a:lnTo>
                  <a:lnTo>
                    <a:pt x="95" y="1"/>
                  </a:lnTo>
                  <a:lnTo>
                    <a:pt x="103" y="2"/>
                  </a:lnTo>
                  <a:lnTo>
                    <a:pt x="110" y="4"/>
                  </a:lnTo>
                  <a:lnTo>
                    <a:pt x="117" y="7"/>
                  </a:lnTo>
                  <a:lnTo>
                    <a:pt x="123" y="10"/>
                  </a:lnTo>
                  <a:lnTo>
                    <a:pt x="129" y="14"/>
                  </a:lnTo>
                  <a:lnTo>
                    <a:pt x="133" y="18"/>
                  </a:lnTo>
                  <a:lnTo>
                    <a:pt x="137" y="23"/>
                  </a:lnTo>
                  <a:lnTo>
                    <a:pt x="141" y="29"/>
                  </a:lnTo>
                  <a:lnTo>
                    <a:pt x="144" y="35"/>
                  </a:lnTo>
                  <a:lnTo>
                    <a:pt x="146" y="42"/>
                  </a:lnTo>
                  <a:lnTo>
                    <a:pt x="148" y="49"/>
                  </a:lnTo>
                  <a:lnTo>
                    <a:pt x="149" y="57"/>
                  </a:lnTo>
                  <a:lnTo>
                    <a:pt x="150" y="73"/>
                  </a:lnTo>
                  <a:lnTo>
                    <a:pt x="105" y="73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7810500" y="4805363"/>
              <a:ext cx="82550" cy="123825"/>
            </a:xfrm>
            <a:custGeom>
              <a:avLst/>
              <a:gdLst>
                <a:gd name="T0" fmla="*/ 86 w 157"/>
                <a:gd name="T1" fmla="*/ 0 h 232"/>
                <a:gd name="T2" fmla="*/ 99 w 157"/>
                <a:gd name="T3" fmla="*/ 1 h 232"/>
                <a:gd name="T4" fmla="*/ 123 w 157"/>
                <a:gd name="T5" fmla="*/ 9 h 232"/>
                <a:gd name="T6" fmla="*/ 131 w 157"/>
                <a:gd name="T7" fmla="*/ 15 h 232"/>
                <a:gd name="T8" fmla="*/ 138 w 157"/>
                <a:gd name="T9" fmla="*/ 23 h 232"/>
                <a:gd name="T10" fmla="*/ 143 w 157"/>
                <a:gd name="T11" fmla="*/ 33 h 232"/>
                <a:gd name="T12" fmla="*/ 147 w 157"/>
                <a:gd name="T13" fmla="*/ 46 h 232"/>
                <a:gd name="T14" fmla="*/ 148 w 157"/>
                <a:gd name="T15" fmla="*/ 60 h 232"/>
                <a:gd name="T16" fmla="*/ 145 w 157"/>
                <a:gd name="T17" fmla="*/ 81 h 232"/>
                <a:gd name="T18" fmla="*/ 138 w 157"/>
                <a:gd name="T19" fmla="*/ 98 h 232"/>
                <a:gd name="T20" fmla="*/ 126 w 157"/>
                <a:gd name="T21" fmla="*/ 110 h 232"/>
                <a:gd name="T22" fmla="*/ 108 w 157"/>
                <a:gd name="T23" fmla="*/ 118 h 232"/>
                <a:gd name="T24" fmla="*/ 108 w 157"/>
                <a:gd name="T25" fmla="*/ 118 h 232"/>
                <a:gd name="T26" fmla="*/ 128 w 157"/>
                <a:gd name="T27" fmla="*/ 124 h 232"/>
                <a:gd name="T28" fmla="*/ 135 w 157"/>
                <a:gd name="T29" fmla="*/ 129 h 232"/>
                <a:gd name="T30" fmla="*/ 139 w 157"/>
                <a:gd name="T31" fmla="*/ 137 h 232"/>
                <a:gd name="T32" fmla="*/ 145 w 157"/>
                <a:gd name="T33" fmla="*/ 157 h 232"/>
                <a:gd name="T34" fmla="*/ 146 w 157"/>
                <a:gd name="T35" fmla="*/ 188 h 232"/>
                <a:gd name="T36" fmla="*/ 147 w 157"/>
                <a:gd name="T37" fmla="*/ 205 h 232"/>
                <a:gd name="T38" fmla="*/ 150 w 157"/>
                <a:gd name="T39" fmla="*/ 221 h 232"/>
                <a:gd name="T40" fmla="*/ 154 w 157"/>
                <a:gd name="T41" fmla="*/ 228 h 232"/>
                <a:gd name="T42" fmla="*/ 157 w 157"/>
                <a:gd name="T43" fmla="*/ 232 h 232"/>
                <a:gd name="T44" fmla="*/ 106 w 157"/>
                <a:gd name="T45" fmla="*/ 232 h 232"/>
                <a:gd name="T46" fmla="*/ 101 w 157"/>
                <a:gd name="T47" fmla="*/ 221 h 232"/>
                <a:gd name="T48" fmla="*/ 100 w 157"/>
                <a:gd name="T49" fmla="*/ 208 h 232"/>
                <a:gd name="T50" fmla="*/ 99 w 157"/>
                <a:gd name="T51" fmla="*/ 163 h 232"/>
                <a:gd name="T52" fmla="*/ 97 w 157"/>
                <a:gd name="T53" fmla="*/ 151 h 232"/>
                <a:gd name="T54" fmla="*/ 92 w 157"/>
                <a:gd name="T55" fmla="*/ 142 h 232"/>
                <a:gd name="T56" fmla="*/ 83 w 157"/>
                <a:gd name="T57" fmla="*/ 136 h 232"/>
                <a:gd name="T58" fmla="*/ 71 w 157"/>
                <a:gd name="T59" fmla="*/ 134 h 232"/>
                <a:gd name="T60" fmla="*/ 47 w 157"/>
                <a:gd name="T61" fmla="*/ 232 h 232"/>
                <a:gd name="T62" fmla="*/ 0 w 157"/>
                <a:gd name="T63" fmla="*/ 0 h 232"/>
                <a:gd name="T64" fmla="*/ 66 w 157"/>
                <a:gd name="T65" fmla="*/ 101 h 232"/>
                <a:gd name="T66" fmla="*/ 74 w 157"/>
                <a:gd name="T67" fmla="*/ 101 h 232"/>
                <a:gd name="T68" fmla="*/ 87 w 157"/>
                <a:gd name="T69" fmla="*/ 97 h 232"/>
                <a:gd name="T70" fmla="*/ 95 w 157"/>
                <a:gd name="T71" fmla="*/ 89 h 232"/>
                <a:gd name="T72" fmla="*/ 100 w 157"/>
                <a:gd name="T73" fmla="*/ 75 h 232"/>
                <a:gd name="T74" fmla="*/ 100 w 157"/>
                <a:gd name="T75" fmla="*/ 67 h 232"/>
                <a:gd name="T76" fmla="*/ 98 w 157"/>
                <a:gd name="T77" fmla="*/ 53 h 232"/>
                <a:gd name="T78" fmla="*/ 92 w 157"/>
                <a:gd name="T79" fmla="*/ 43 h 232"/>
                <a:gd name="T80" fmla="*/ 82 w 157"/>
                <a:gd name="T81" fmla="*/ 37 h 232"/>
                <a:gd name="T82" fmla="*/ 68 w 157"/>
                <a:gd name="T83" fmla="*/ 34 h 232"/>
                <a:gd name="T84" fmla="*/ 47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6" y="0"/>
                  </a:lnTo>
                  <a:lnTo>
                    <a:pt x="86" y="0"/>
                  </a:lnTo>
                  <a:lnTo>
                    <a:pt x="99" y="1"/>
                  </a:lnTo>
                  <a:lnTo>
                    <a:pt x="112" y="4"/>
                  </a:lnTo>
                  <a:lnTo>
                    <a:pt x="123" y="9"/>
                  </a:lnTo>
                  <a:lnTo>
                    <a:pt x="127" y="12"/>
                  </a:lnTo>
                  <a:lnTo>
                    <a:pt x="131" y="15"/>
                  </a:lnTo>
                  <a:lnTo>
                    <a:pt x="135" y="19"/>
                  </a:lnTo>
                  <a:lnTo>
                    <a:pt x="138" y="23"/>
                  </a:lnTo>
                  <a:lnTo>
                    <a:pt x="141" y="28"/>
                  </a:lnTo>
                  <a:lnTo>
                    <a:pt x="143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47" y="71"/>
                  </a:lnTo>
                  <a:lnTo>
                    <a:pt x="145" y="81"/>
                  </a:lnTo>
                  <a:lnTo>
                    <a:pt x="142" y="90"/>
                  </a:lnTo>
                  <a:lnTo>
                    <a:pt x="138" y="98"/>
                  </a:lnTo>
                  <a:lnTo>
                    <a:pt x="133" y="104"/>
                  </a:lnTo>
                  <a:lnTo>
                    <a:pt x="126" y="110"/>
                  </a:lnTo>
                  <a:lnTo>
                    <a:pt x="119" y="114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20" y="120"/>
                  </a:lnTo>
                  <a:lnTo>
                    <a:pt x="128" y="124"/>
                  </a:lnTo>
                  <a:lnTo>
                    <a:pt x="132" y="126"/>
                  </a:lnTo>
                  <a:lnTo>
                    <a:pt x="135" y="129"/>
                  </a:lnTo>
                  <a:lnTo>
                    <a:pt x="137" y="133"/>
                  </a:lnTo>
                  <a:lnTo>
                    <a:pt x="139" y="137"/>
                  </a:lnTo>
                  <a:lnTo>
                    <a:pt x="143" y="146"/>
                  </a:lnTo>
                  <a:lnTo>
                    <a:pt x="145" y="157"/>
                  </a:lnTo>
                  <a:lnTo>
                    <a:pt x="146" y="171"/>
                  </a:lnTo>
                  <a:lnTo>
                    <a:pt x="146" y="188"/>
                  </a:lnTo>
                  <a:lnTo>
                    <a:pt x="146" y="188"/>
                  </a:lnTo>
                  <a:lnTo>
                    <a:pt x="147" y="205"/>
                  </a:lnTo>
                  <a:lnTo>
                    <a:pt x="148" y="217"/>
                  </a:lnTo>
                  <a:lnTo>
                    <a:pt x="150" y="221"/>
                  </a:lnTo>
                  <a:lnTo>
                    <a:pt x="151" y="225"/>
                  </a:lnTo>
                  <a:lnTo>
                    <a:pt x="154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6" y="232"/>
                  </a:lnTo>
                  <a:lnTo>
                    <a:pt x="106" y="232"/>
                  </a:lnTo>
                  <a:lnTo>
                    <a:pt x="103" y="227"/>
                  </a:lnTo>
                  <a:lnTo>
                    <a:pt x="101" y="221"/>
                  </a:lnTo>
                  <a:lnTo>
                    <a:pt x="100" y="215"/>
                  </a:lnTo>
                  <a:lnTo>
                    <a:pt x="100" y="208"/>
                  </a:lnTo>
                  <a:lnTo>
                    <a:pt x="99" y="163"/>
                  </a:lnTo>
                  <a:lnTo>
                    <a:pt x="99" y="163"/>
                  </a:lnTo>
                  <a:lnTo>
                    <a:pt x="98" y="157"/>
                  </a:lnTo>
                  <a:lnTo>
                    <a:pt x="97" y="151"/>
                  </a:lnTo>
                  <a:lnTo>
                    <a:pt x="95" y="146"/>
                  </a:lnTo>
                  <a:lnTo>
                    <a:pt x="92" y="142"/>
                  </a:lnTo>
                  <a:lnTo>
                    <a:pt x="88" y="139"/>
                  </a:lnTo>
                  <a:lnTo>
                    <a:pt x="83" y="136"/>
                  </a:lnTo>
                  <a:lnTo>
                    <a:pt x="78" y="135"/>
                  </a:lnTo>
                  <a:lnTo>
                    <a:pt x="71" y="134"/>
                  </a:lnTo>
                  <a:lnTo>
                    <a:pt x="47" y="134"/>
                  </a:lnTo>
                  <a:lnTo>
                    <a:pt x="47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7" y="101"/>
                  </a:moveTo>
                  <a:lnTo>
                    <a:pt x="66" y="101"/>
                  </a:lnTo>
                  <a:lnTo>
                    <a:pt x="66" y="101"/>
                  </a:lnTo>
                  <a:lnTo>
                    <a:pt x="74" y="101"/>
                  </a:lnTo>
                  <a:lnTo>
                    <a:pt x="81" y="99"/>
                  </a:lnTo>
                  <a:lnTo>
                    <a:pt x="87" y="97"/>
                  </a:lnTo>
                  <a:lnTo>
                    <a:pt x="91" y="93"/>
                  </a:lnTo>
                  <a:lnTo>
                    <a:pt x="95" y="89"/>
                  </a:lnTo>
                  <a:lnTo>
                    <a:pt x="98" y="83"/>
                  </a:lnTo>
                  <a:lnTo>
                    <a:pt x="100" y="75"/>
                  </a:lnTo>
                  <a:lnTo>
                    <a:pt x="100" y="67"/>
                  </a:lnTo>
                  <a:lnTo>
                    <a:pt x="100" y="67"/>
                  </a:lnTo>
                  <a:lnTo>
                    <a:pt x="100" y="59"/>
                  </a:lnTo>
                  <a:lnTo>
                    <a:pt x="98" y="53"/>
                  </a:lnTo>
                  <a:lnTo>
                    <a:pt x="96" y="48"/>
                  </a:lnTo>
                  <a:lnTo>
                    <a:pt x="92" y="43"/>
                  </a:lnTo>
                  <a:lnTo>
                    <a:pt x="88" y="40"/>
                  </a:lnTo>
                  <a:lnTo>
                    <a:pt x="82" y="37"/>
                  </a:lnTo>
                  <a:lnTo>
                    <a:pt x="76" y="35"/>
                  </a:lnTo>
                  <a:lnTo>
                    <a:pt x="68" y="34"/>
                  </a:lnTo>
                  <a:lnTo>
                    <a:pt x="47" y="34"/>
                  </a:lnTo>
                  <a:lnTo>
                    <a:pt x="47" y="101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7904163" y="4803775"/>
              <a:ext cx="84138" cy="127000"/>
            </a:xfrm>
            <a:custGeom>
              <a:avLst/>
              <a:gdLst>
                <a:gd name="T0" fmla="*/ 79 w 158"/>
                <a:gd name="T1" fmla="*/ 0 h 240"/>
                <a:gd name="T2" fmla="*/ 102 w 158"/>
                <a:gd name="T3" fmla="*/ 2 h 240"/>
                <a:gd name="T4" fmla="*/ 122 w 158"/>
                <a:gd name="T5" fmla="*/ 8 h 240"/>
                <a:gd name="T6" fmla="*/ 135 w 158"/>
                <a:gd name="T7" fmla="*/ 19 h 240"/>
                <a:gd name="T8" fmla="*/ 145 w 158"/>
                <a:gd name="T9" fmla="*/ 33 h 240"/>
                <a:gd name="T10" fmla="*/ 152 w 158"/>
                <a:gd name="T11" fmla="*/ 51 h 240"/>
                <a:gd name="T12" fmla="*/ 156 w 158"/>
                <a:gd name="T13" fmla="*/ 72 h 240"/>
                <a:gd name="T14" fmla="*/ 158 w 158"/>
                <a:gd name="T15" fmla="*/ 121 h 240"/>
                <a:gd name="T16" fmla="*/ 158 w 158"/>
                <a:gd name="T17" fmla="*/ 146 h 240"/>
                <a:gd name="T18" fmla="*/ 154 w 158"/>
                <a:gd name="T19" fmla="*/ 179 h 240"/>
                <a:gd name="T20" fmla="*/ 149 w 158"/>
                <a:gd name="T21" fmla="*/ 198 h 240"/>
                <a:gd name="T22" fmla="*/ 141 w 158"/>
                <a:gd name="T23" fmla="*/ 215 h 240"/>
                <a:gd name="T24" fmla="*/ 129 w 158"/>
                <a:gd name="T25" fmla="*/ 227 h 240"/>
                <a:gd name="T26" fmla="*/ 113 w 158"/>
                <a:gd name="T27" fmla="*/ 235 h 240"/>
                <a:gd name="T28" fmla="*/ 92 w 158"/>
                <a:gd name="T29" fmla="*/ 240 h 240"/>
                <a:gd name="T30" fmla="*/ 79 w 158"/>
                <a:gd name="T31" fmla="*/ 240 h 240"/>
                <a:gd name="T32" fmla="*/ 56 w 158"/>
                <a:gd name="T33" fmla="*/ 238 h 240"/>
                <a:gd name="T34" fmla="*/ 38 w 158"/>
                <a:gd name="T35" fmla="*/ 232 h 240"/>
                <a:gd name="T36" fmla="*/ 24 w 158"/>
                <a:gd name="T37" fmla="*/ 221 h 240"/>
                <a:gd name="T38" fmla="*/ 13 w 158"/>
                <a:gd name="T39" fmla="*/ 207 h 240"/>
                <a:gd name="T40" fmla="*/ 7 w 158"/>
                <a:gd name="T41" fmla="*/ 189 h 240"/>
                <a:gd name="T42" fmla="*/ 3 w 158"/>
                <a:gd name="T43" fmla="*/ 168 h 240"/>
                <a:gd name="T44" fmla="*/ 0 w 158"/>
                <a:gd name="T45" fmla="*/ 121 h 240"/>
                <a:gd name="T46" fmla="*/ 1 w 158"/>
                <a:gd name="T47" fmla="*/ 94 h 240"/>
                <a:gd name="T48" fmla="*/ 5 w 158"/>
                <a:gd name="T49" fmla="*/ 61 h 240"/>
                <a:gd name="T50" fmla="*/ 10 w 158"/>
                <a:gd name="T51" fmla="*/ 42 h 240"/>
                <a:gd name="T52" fmla="*/ 18 w 158"/>
                <a:gd name="T53" fmla="*/ 26 h 240"/>
                <a:gd name="T54" fmla="*/ 31 w 158"/>
                <a:gd name="T55" fmla="*/ 13 h 240"/>
                <a:gd name="T56" fmla="*/ 46 w 158"/>
                <a:gd name="T57" fmla="*/ 5 h 240"/>
                <a:gd name="T58" fmla="*/ 67 w 158"/>
                <a:gd name="T59" fmla="*/ 0 h 240"/>
                <a:gd name="T60" fmla="*/ 79 w 158"/>
                <a:gd name="T61" fmla="*/ 0 h 240"/>
                <a:gd name="T62" fmla="*/ 79 w 158"/>
                <a:gd name="T63" fmla="*/ 206 h 240"/>
                <a:gd name="T64" fmla="*/ 88 w 158"/>
                <a:gd name="T65" fmla="*/ 205 h 240"/>
                <a:gd name="T66" fmla="*/ 96 w 158"/>
                <a:gd name="T67" fmla="*/ 202 h 240"/>
                <a:gd name="T68" fmla="*/ 101 w 158"/>
                <a:gd name="T69" fmla="*/ 195 h 240"/>
                <a:gd name="T70" fmla="*/ 106 w 158"/>
                <a:gd name="T71" fmla="*/ 186 h 240"/>
                <a:gd name="T72" fmla="*/ 111 w 158"/>
                <a:gd name="T73" fmla="*/ 160 h 240"/>
                <a:gd name="T74" fmla="*/ 112 w 158"/>
                <a:gd name="T75" fmla="*/ 121 h 240"/>
                <a:gd name="T76" fmla="*/ 112 w 158"/>
                <a:gd name="T77" fmla="*/ 98 h 240"/>
                <a:gd name="T78" fmla="*/ 109 w 158"/>
                <a:gd name="T79" fmla="*/ 66 h 240"/>
                <a:gd name="T80" fmla="*/ 103 w 158"/>
                <a:gd name="T81" fmla="*/ 49 h 240"/>
                <a:gd name="T82" fmla="*/ 99 w 158"/>
                <a:gd name="T83" fmla="*/ 42 h 240"/>
                <a:gd name="T84" fmla="*/ 92 w 158"/>
                <a:gd name="T85" fmla="*/ 36 h 240"/>
                <a:gd name="T86" fmla="*/ 84 w 158"/>
                <a:gd name="T87" fmla="*/ 34 h 240"/>
                <a:gd name="T88" fmla="*/ 79 w 158"/>
                <a:gd name="T89" fmla="*/ 34 h 240"/>
                <a:gd name="T90" fmla="*/ 70 w 158"/>
                <a:gd name="T91" fmla="*/ 35 h 240"/>
                <a:gd name="T92" fmla="*/ 63 w 158"/>
                <a:gd name="T93" fmla="*/ 38 h 240"/>
                <a:gd name="T94" fmla="*/ 57 w 158"/>
                <a:gd name="T95" fmla="*/ 45 h 240"/>
                <a:gd name="T96" fmla="*/ 53 w 158"/>
                <a:gd name="T97" fmla="*/ 54 h 240"/>
                <a:gd name="T98" fmla="*/ 49 w 158"/>
                <a:gd name="T99" fmla="*/ 80 h 240"/>
                <a:gd name="T100" fmla="*/ 48 w 158"/>
                <a:gd name="T101" fmla="*/ 121 h 240"/>
                <a:gd name="T102" fmla="*/ 48 w 158"/>
                <a:gd name="T103" fmla="*/ 142 h 240"/>
                <a:gd name="T104" fmla="*/ 50 w 158"/>
                <a:gd name="T105" fmla="*/ 174 h 240"/>
                <a:gd name="T106" fmla="*/ 55 w 158"/>
                <a:gd name="T107" fmla="*/ 191 h 240"/>
                <a:gd name="T108" fmla="*/ 60 w 158"/>
                <a:gd name="T109" fmla="*/ 198 h 240"/>
                <a:gd name="T110" fmla="*/ 66 w 158"/>
                <a:gd name="T111" fmla="*/ 204 h 240"/>
                <a:gd name="T112" fmla="*/ 74 w 158"/>
                <a:gd name="T113" fmla="*/ 206 h 240"/>
                <a:gd name="T114" fmla="*/ 79 w 158"/>
                <a:gd name="T115" fmla="*/ 20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" h="240">
                  <a:moveTo>
                    <a:pt x="79" y="0"/>
                  </a:moveTo>
                  <a:lnTo>
                    <a:pt x="79" y="0"/>
                  </a:lnTo>
                  <a:lnTo>
                    <a:pt x="92" y="0"/>
                  </a:lnTo>
                  <a:lnTo>
                    <a:pt x="102" y="2"/>
                  </a:lnTo>
                  <a:lnTo>
                    <a:pt x="113" y="5"/>
                  </a:lnTo>
                  <a:lnTo>
                    <a:pt x="122" y="8"/>
                  </a:lnTo>
                  <a:lnTo>
                    <a:pt x="129" y="13"/>
                  </a:lnTo>
                  <a:lnTo>
                    <a:pt x="135" y="19"/>
                  </a:lnTo>
                  <a:lnTo>
                    <a:pt x="141" y="26"/>
                  </a:lnTo>
                  <a:lnTo>
                    <a:pt x="145" y="33"/>
                  </a:lnTo>
                  <a:lnTo>
                    <a:pt x="149" y="42"/>
                  </a:lnTo>
                  <a:lnTo>
                    <a:pt x="152" y="51"/>
                  </a:lnTo>
                  <a:lnTo>
                    <a:pt x="154" y="61"/>
                  </a:lnTo>
                  <a:lnTo>
                    <a:pt x="156" y="72"/>
                  </a:lnTo>
                  <a:lnTo>
                    <a:pt x="158" y="94"/>
                  </a:lnTo>
                  <a:lnTo>
                    <a:pt x="158" y="121"/>
                  </a:lnTo>
                  <a:lnTo>
                    <a:pt x="158" y="121"/>
                  </a:lnTo>
                  <a:lnTo>
                    <a:pt x="158" y="146"/>
                  </a:lnTo>
                  <a:lnTo>
                    <a:pt x="156" y="168"/>
                  </a:lnTo>
                  <a:lnTo>
                    <a:pt x="154" y="179"/>
                  </a:lnTo>
                  <a:lnTo>
                    <a:pt x="152" y="189"/>
                  </a:lnTo>
                  <a:lnTo>
                    <a:pt x="149" y="198"/>
                  </a:lnTo>
                  <a:lnTo>
                    <a:pt x="145" y="207"/>
                  </a:lnTo>
                  <a:lnTo>
                    <a:pt x="141" y="215"/>
                  </a:lnTo>
                  <a:lnTo>
                    <a:pt x="135" y="221"/>
                  </a:lnTo>
                  <a:lnTo>
                    <a:pt x="129" y="227"/>
                  </a:lnTo>
                  <a:lnTo>
                    <a:pt x="122" y="232"/>
                  </a:lnTo>
                  <a:lnTo>
                    <a:pt x="113" y="235"/>
                  </a:lnTo>
                  <a:lnTo>
                    <a:pt x="102" y="238"/>
                  </a:lnTo>
                  <a:lnTo>
                    <a:pt x="92" y="240"/>
                  </a:lnTo>
                  <a:lnTo>
                    <a:pt x="79" y="240"/>
                  </a:lnTo>
                  <a:lnTo>
                    <a:pt x="79" y="240"/>
                  </a:lnTo>
                  <a:lnTo>
                    <a:pt x="67" y="240"/>
                  </a:lnTo>
                  <a:lnTo>
                    <a:pt x="56" y="238"/>
                  </a:lnTo>
                  <a:lnTo>
                    <a:pt x="46" y="235"/>
                  </a:lnTo>
                  <a:lnTo>
                    <a:pt x="38" y="232"/>
                  </a:lnTo>
                  <a:lnTo>
                    <a:pt x="31" y="227"/>
                  </a:lnTo>
                  <a:lnTo>
                    <a:pt x="24" y="221"/>
                  </a:lnTo>
                  <a:lnTo>
                    <a:pt x="18" y="215"/>
                  </a:lnTo>
                  <a:lnTo>
                    <a:pt x="13" y="207"/>
                  </a:lnTo>
                  <a:lnTo>
                    <a:pt x="10" y="198"/>
                  </a:lnTo>
                  <a:lnTo>
                    <a:pt x="7" y="189"/>
                  </a:lnTo>
                  <a:lnTo>
                    <a:pt x="5" y="179"/>
                  </a:lnTo>
                  <a:lnTo>
                    <a:pt x="3" y="168"/>
                  </a:lnTo>
                  <a:lnTo>
                    <a:pt x="1" y="146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" y="94"/>
                  </a:lnTo>
                  <a:lnTo>
                    <a:pt x="3" y="72"/>
                  </a:lnTo>
                  <a:lnTo>
                    <a:pt x="5" y="61"/>
                  </a:lnTo>
                  <a:lnTo>
                    <a:pt x="7" y="51"/>
                  </a:lnTo>
                  <a:lnTo>
                    <a:pt x="10" y="42"/>
                  </a:lnTo>
                  <a:lnTo>
                    <a:pt x="13" y="33"/>
                  </a:lnTo>
                  <a:lnTo>
                    <a:pt x="18" y="26"/>
                  </a:lnTo>
                  <a:lnTo>
                    <a:pt x="24" y="19"/>
                  </a:lnTo>
                  <a:lnTo>
                    <a:pt x="31" y="13"/>
                  </a:lnTo>
                  <a:lnTo>
                    <a:pt x="38" y="8"/>
                  </a:lnTo>
                  <a:lnTo>
                    <a:pt x="46" y="5"/>
                  </a:lnTo>
                  <a:lnTo>
                    <a:pt x="56" y="2"/>
                  </a:lnTo>
                  <a:lnTo>
                    <a:pt x="67" y="0"/>
                  </a:lnTo>
                  <a:lnTo>
                    <a:pt x="79" y="0"/>
                  </a:lnTo>
                  <a:lnTo>
                    <a:pt x="79" y="0"/>
                  </a:lnTo>
                  <a:close/>
                  <a:moveTo>
                    <a:pt x="79" y="206"/>
                  </a:moveTo>
                  <a:lnTo>
                    <a:pt x="79" y="206"/>
                  </a:lnTo>
                  <a:lnTo>
                    <a:pt x="84" y="206"/>
                  </a:lnTo>
                  <a:lnTo>
                    <a:pt x="88" y="205"/>
                  </a:lnTo>
                  <a:lnTo>
                    <a:pt x="92" y="204"/>
                  </a:lnTo>
                  <a:lnTo>
                    <a:pt x="96" y="202"/>
                  </a:lnTo>
                  <a:lnTo>
                    <a:pt x="99" y="198"/>
                  </a:lnTo>
                  <a:lnTo>
                    <a:pt x="101" y="195"/>
                  </a:lnTo>
                  <a:lnTo>
                    <a:pt x="103" y="191"/>
                  </a:lnTo>
                  <a:lnTo>
                    <a:pt x="106" y="186"/>
                  </a:lnTo>
                  <a:lnTo>
                    <a:pt x="109" y="174"/>
                  </a:lnTo>
                  <a:lnTo>
                    <a:pt x="111" y="160"/>
                  </a:lnTo>
                  <a:lnTo>
                    <a:pt x="112" y="142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98"/>
                  </a:lnTo>
                  <a:lnTo>
                    <a:pt x="111" y="80"/>
                  </a:lnTo>
                  <a:lnTo>
                    <a:pt x="109" y="66"/>
                  </a:lnTo>
                  <a:lnTo>
                    <a:pt x="106" y="54"/>
                  </a:lnTo>
                  <a:lnTo>
                    <a:pt x="103" y="49"/>
                  </a:lnTo>
                  <a:lnTo>
                    <a:pt x="101" y="45"/>
                  </a:lnTo>
                  <a:lnTo>
                    <a:pt x="99" y="42"/>
                  </a:lnTo>
                  <a:lnTo>
                    <a:pt x="96" y="38"/>
                  </a:lnTo>
                  <a:lnTo>
                    <a:pt x="92" y="36"/>
                  </a:lnTo>
                  <a:lnTo>
                    <a:pt x="88" y="35"/>
                  </a:lnTo>
                  <a:lnTo>
                    <a:pt x="84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4" y="34"/>
                  </a:lnTo>
                  <a:lnTo>
                    <a:pt x="70" y="35"/>
                  </a:lnTo>
                  <a:lnTo>
                    <a:pt x="66" y="36"/>
                  </a:lnTo>
                  <a:lnTo>
                    <a:pt x="63" y="38"/>
                  </a:lnTo>
                  <a:lnTo>
                    <a:pt x="60" y="42"/>
                  </a:lnTo>
                  <a:lnTo>
                    <a:pt x="57" y="45"/>
                  </a:lnTo>
                  <a:lnTo>
                    <a:pt x="55" y="49"/>
                  </a:lnTo>
                  <a:lnTo>
                    <a:pt x="53" y="54"/>
                  </a:lnTo>
                  <a:lnTo>
                    <a:pt x="50" y="66"/>
                  </a:lnTo>
                  <a:lnTo>
                    <a:pt x="49" y="80"/>
                  </a:lnTo>
                  <a:lnTo>
                    <a:pt x="48" y="98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48" y="142"/>
                  </a:lnTo>
                  <a:lnTo>
                    <a:pt x="49" y="160"/>
                  </a:lnTo>
                  <a:lnTo>
                    <a:pt x="50" y="174"/>
                  </a:lnTo>
                  <a:lnTo>
                    <a:pt x="53" y="186"/>
                  </a:lnTo>
                  <a:lnTo>
                    <a:pt x="55" y="191"/>
                  </a:lnTo>
                  <a:lnTo>
                    <a:pt x="57" y="195"/>
                  </a:lnTo>
                  <a:lnTo>
                    <a:pt x="60" y="198"/>
                  </a:lnTo>
                  <a:lnTo>
                    <a:pt x="63" y="202"/>
                  </a:lnTo>
                  <a:lnTo>
                    <a:pt x="66" y="204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8002588" y="4805363"/>
              <a:ext cx="77788" cy="125413"/>
            </a:xfrm>
            <a:custGeom>
              <a:avLst/>
              <a:gdLst>
                <a:gd name="T0" fmla="*/ 47 w 148"/>
                <a:gd name="T1" fmla="*/ 0 h 236"/>
                <a:gd name="T2" fmla="*/ 47 w 148"/>
                <a:gd name="T3" fmla="*/ 162 h 236"/>
                <a:gd name="T4" fmla="*/ 47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50 w 148"/>
                <a:gd name="T11" fmla="*/ 184 h 236"/>
                <a:gd name="T12" fmla="*/ 52 w 148"/>
                <a:gd name="T13" fmla="*/ 190 h 236"/>
                <a:gd name="T14" fmla="*/ 56 w 148"/>
                <a:gd name="T15" fmla="*/ 195 h 236"/>
                <a:gd name="T16" fmla="*/ 60 w 148"/>
                <a:gd name="T17" fmla="*/ 199 h 236"/>
                <a:gd name="T18" fmla="*/ 66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1 w 148"/>
                <a:gd name="T25" fmla="*/ 202 h 236"/>
                <a:gd name="T26" fmla="*/ 87 w 148"/>
                <a:gd name="T27" fmla="*/ 199 h 236"/>
                <a:gd name="T28" fmla="*/ 93 w 148"/>
                <a:gd name="T29" fmla="*/ 195 h 236"/>
                <a:gd name="T30" fmla="*/ 96 w 148"/>
                <a:gd name="T31" fmla="*/ 190 h 236"/>
                <a:gd name="T32" fmla="*/ 99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2 w 148"/>
                <a:gd name="T39" fmla="*/ 162 h 236"/>
                <a:gd name="T40" fmla="*/ 102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7 w 148"/>
                <a:gd name="T49" fmla="*/ 172 h 236"/>
                <a:gd name="T50" fmla="*/ 146 w 148"/>
                <a:gd name="T51" fmla="*/ 182 h 236"/>
                <a:gd name="T52" fmla="*/ 144 w 148"/>
                <a:gd name="T53" fmla="*/ 190 h 236"/>
                <a:gd name="T54" fmla="*/ 142 w 148"/>
                <a:gd name="T55" fmla="*/ 199 h 236"/>
                <a:gd name="T56" fmla="*/ 138 w 148"/>
                <a:gd name="T57" fmla="*/ 206 h 236"/>
                <a:gd name="T58" fmla="*/ 135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9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60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7 w 148"/>
                <a:gd name="T97" fmla="*/ 200 h 236"/>
                <a:gd name="T98" fmla="*/ 4 w 148"/>
                <a:gd name="T99" fmla="*/ 191 h 236"/>
                <a:gd name="T100" fmla="*/ 1 w 148"/>
                <a:gd name="T101" fmla="*/ 182 h 236"/>
                <a:gd name="T102" fmla="*/ 0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7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7" y="0"/>
                  </a:moveTo>
                  <a:lnTo>
                    <a:pt x="47" y="162"/>
                  </a:lnTo>
                  <a:lnTo>
                    <a:pt x="47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50" y="184"/>
                  </a:lnTo>
                  <a:lnTo>
                    <a:pt x="52" y="190"/>
                  </a:lnTo>
                  <a:lnTo>
                    <a:pt x="56" y="195"/>
                  </a:lnTo>
                  <a:lnTo>
                    <a:pt x="60" y="199"/>
                  </a:lnTo>
                  <a:lnTo>
                    <a:pt x="66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1" y="202"/>
                  </a:lnTo>
                  <a:lnTo>
                    <a:pt x="87" y="199"/>
                  </a:lnTo>
                  <a:lnTo>
                    <a:pt x="93" y="195"/>
                  </a:lnTo>
                  <a:lnTo>
                    <a:pt x="96" y="190"/>
                  </a:lnTo>
                  <a:lnTo>
                    <a:pt x="99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2" y="162"/>
                  </a:lnTo>
                  <a:lnTo>
                    <a:pt x="102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72"/>
                  </a:lnTo>
                  <a:lnTo>
                    <a:pt x="146" y="182"/>
                  </a:lnTo>
                  <a:lnTo>
                    <a:pt x="144" y="190"/>
                  </a:lnTo>
                  <a:lnTo>
                    <a:pt x="142" y="199"/>
                  </a:lnTo>
                  <a:lnTo>
                    <a:pt x="138" y="206"/>
                  </a:lnTo>
                  <a:lnTo>
                    <a:pt x="135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9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60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7" y="200"/>
                  </a:lnTo>
                  <a:lnTo>
                    <a:pt x="4" y="191"/>
                  </a:lnTo>
                  <a:lnTo>
                    <a:pt x="1" y="182"/>
                  </a:lnTo>
                  <a:lnTo>
                    <a:pt x="0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8101013" y="4805363"/>
              <a:ext cx="76200" cy="123825"/>
            </a:xfrm>
            <a:custGeom>
              <a:avLst/>
              <a:gdLst>
                <a:gd name="T0" fmla="*/ 0 w 144"/>
                <a:gd name="T1" fmla="*/ 0 h 232"/>
                <a:gd name="T2" fmla="*/ 82 w 144"/>
                <a:gd name="T3" fmla="*/ 0 h 232"/>
                <a:gd name="T4" fmla="*/ 82 w 144"/>
                <a:gd name="T5" fmla="*/ 0 h 232"/>
                <a:gd name="T6" fmla="*/ 90 w 144"/>
                <a:gd name="T7" fmla="*/ 1 h 232"/>
                <a:gd name="T8" fmla="*/ 98 w 144"/>
                <a:gd name="T9" fmla="*/ 2 h 232"/>
                <a:gd name="T10" fmla="*/ 105 w 144"/>
                <a:gd name="T11" fmla="*/ 4 h 232"/>
                <a:gd name="T12" fmla="*/ 111 w 144"/>
                <a:gd name="T13" fmla="*/ 6 h 232"/>
                <a:gd name="T14" fmla="*/ 117 w 144"/>
                <a:gd name="T15" fmla="*/ 9 h 232"/>
                <a:gd name="T16" fmla="*/ 122 w 144"/>
                <a:gd name="T17" fmla="*/ 13 h 232"/>
                <a:gd name="T18" fmla="*/ 127 w 144"/>
                <a:gd name="T19" fmla="*/ 17 h 232"/>
                <a:gd name="T20" fmla="*/ 131 w 144"/>
                <a:gd name="T21" fmla="*/ 22 h 232"/>
                <a:gd name="T22" fmla="*/ 134 w 144"/>
                <a:gd name="T23" fmla="*/ 27 h 232"/>
                <a:gd name="T24" fmla="*/ 137 w 144"/>
                <a:gd name="T25" fmla="*/ 32 h 232"/>
                <a:gd name="T26" fmla="*/ 141 w 144"/>
                <a:gd name="T27" fmla="*/ 45 h 232"/>
                <a:gd name="T28" fmla="*/ 144 w 144"/>
                <a:gd name="T29" fmla="*/ 57 h 232"/>
                <a:gd name="T30" fmla="*/ 144 w 144"/>
                <a:gd name="T31" fmla="*/ 70 h 232"/>
                <a:gd name="T32" fmla="*/ 144 w 144"/>
                <a:gd name="T33" fmla="*/ 70 h 232"/>
                <a:gd name="T34" fmla="*/ 144 w 144"/>
                <a:gd name="T35" fmla="*/ 78 h 232"/>
                <a:gd name="T36" fmla="*/ 143 w 144"/>
                <a:gd name="T37" fmla="*/ 86 h 232"/>
                <a:gd name="T38" fmla="*/ 141 w 144"/>
                <a:gd name="T39" fmla="*/ 94 h 232"/>
                <a:gd name="T40" fmla="*/ 139 w 144"/>
                <a:gd name="T41" fmla="*/ 101 h 232"/>
                <a:gd name="T42" fmla="*/ 136 w 144"/>
                <a:gd name="T43" fmla="*/ 107 h 232"/>
                <a:gd name="T44" fmla="*/ 133 w 144"/>
                <a:gd name="T45" fmla="*/ 112 h 232"/>
                <a:gd name="T46" fmla="*/ 129 w 144"/>
                <a:gd name="T47" fmla="*/ 118 h 232"/>
                <a:gd name="T48" fmla="*/ 124 w 144"/>
                <a:gd name="T49" fmla="*/ 123 h 232"/>
                <a:gd name="T50" fmla="*/ 119 w 144"/>
                <a:gd name="T51" fmla="*/ 127 h 232"/>
                <a:gd name="T52" fmla="*/ 114 w 144"/>
                <a:gd name="T53" fmla="*/ 130 h 232"/>
                <a:gd name="T54" fmla="*/ 108 w 144"/>
                <a:gd name="T55" fmla="*/ 133 h 232"/>
                <a:gd name="T56" fmla="*/ 101 w 144"/>
                <a:gd name="T57" fmla="*/ 136 h 232"/>
                <a:gd name="T58" fmla="*/ 95 w 144"/>
                <a:gd name="T59" fmla="*/ 137 h 232"/>
                <a:gd name="T60" fmla="*/ 87 w 144"/>
                <a:gd name="T61" fmla="*/ 139 h 232"/>
                <a:gd name="T62" fmla="*/ 71 w 144"/>
                <a:gd name="T63" fmla="*/ 140 h 232"/>
                <a:gd name="T64" fmla="*/ 46 w 144"/>
                <a:gd name="T65" fmla="*/ 140 h 232"/>
                <a:gd name="T66" fmla="*/ 46 w 144"/>
                <a:gd name="T67" fmla="*/ 232 h 232"/>
                <a:gd name="T68" fmla="*/ 0 w 144"/>
                <a:gd name="T69" fmla="*/ 232 h 232"/>
                <a:gd name="T70" fmla="*/ 0 w 144"/>
                <a:gd name="T71" fmla="*/ 0 h 232"/>
                <a:gd name="T72" fmla="*/ 46 w 144"/>
                <a:gd name="T73" fmla="*/ 105 h 232"/>
                <a:gd name="T74" fmla="*/ 67 w 144"/>
                <a:gd name="T75" fmla="*/ 105 h 232"/>
                <a:gd name="T76" fmla="*/ 67 w 144"/>
                <a:gd name="T77" fmla="*/ 105 h 232"/>
                <a:gd name="T78" fmla="*/ 74 w 144"/>
                <a:gd name="T79" fmla="*/ 104 h 232"/>
                <a:gd name="T80" fmla="*/ 80 w 144"/>
                <a:gd name="T81" fmla="*/ 103 h 232"/>
                <a:gd name="T82" fmla="*/ 85 w 144"/>
                <a:gd name="T83" fmla="*/ 100 h 232"/>
                <a:gd name="T84" fmla="*/ 90 w 144"/>
                <a:gd name="T85" fmla="*/ 96 h 232"/>
                <a:gd name="T86" fmla="*/ 93 w 144"/>
                <a:gd name="T87" fmla="*/ 92 h 232"/>
                <a:gd name="T88" fmla="*/ 96 w 144"/>
                <a:gd name="T89" fmla="*/ 86 h 232"/>
                <a:gd name="T90" fmla="*/ 98 w 144"/>
                <a:gd name="T91" fmla="*/ 79 h 232"/>
                <a:gd name="T92" fmla="*/ 98 w 144"/>
                <a:gd name="T93" fmla="*/ 70 h 232"/>
                <a:gd name="T94" fmla="*/ 98 w 144"/>
                <a:gd name="T95" fmla="*/ 70 h 232"/>
                <a:gd name="T96" fmla="*/ 98 w 144"/>
                <a:gd name="T97" fmla="*/ 62 h 232"/>
                <a:gd name="T98" fmla="*/ 97 w 144"/>
                <a:gd name="T99" fmla="*/ 55 h 232"/>
                <a:gd name="T100" fmla="*/ 94 w 144"/>
                <a:gd name="T101" fmla="*/ 49 h 232"/>
                <a:gd name="T102" fmla="*/ 91 w 144"/>
                <a:gd name="T103" fmla="*/ 44 h 232"/>
                <a:gd name="T104" fmla="*/ 87 w 144"/>
                <a:gd name="T105" fmla="*/ 40 h 232"/>
                <a:gd name="T106" fmla="*/ 81 w 144"/>
                <a:gd name="T107" fmla="*/ 37 h 232"/>
                <a:gd name="T108" fmla="*/ 74 w 144"/>
                <a:gd name="T109" fmla="*/ 35 h 232"/>
                <a:gd name="T110" fmla="*/ 65 w 144"/>
                <a:gd name="T111" fmla="*/ 34 h 232"/>
                <a:gd name="T112" fmla="*/ 46 w 144"/>
                <a:gd name="T113" fmla="*/ 34 h 232"/>
                <a:gd name="T114" fmla="*/ 46 w 144"/>
                <a:gd name="T115" fmla="*/ 10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4" h="232">
                  <a:moveTo>
                    <a:pt x="0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90" y="1"/>
                  </a:lnTo>
                  <a:lnTo>
                    <a:pt x="98" y="2"/>
                  </a:lnTo>
                  <a:lnTo>
                    <a:pt x="105" y="4"/>
                  </a:lnTo>
                  <a:lnTo>
                    <a:pt x="111" y="6"/>
                  </a:lnTo>
                  <a:lnTo>
                    <a:pt x="117" y="9"/>
                  </a:lnTo>
                  <a:lnTo>
                    <a:pt x="122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4" y="27"/>
                  </a:lnTo>
                  <a:lnTo>
                    <a:pt x="137" y="32"/>
                  </a:lnTo>
                  <a:lnTo>
                    <a:pt x="141" y="45"/>
                  </a:lnTo>
                  <a:lnTo>
                    <a:pt x="144" y="57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4" y="78"/>
                  </a:lnTo>
                  <a:lnTo>
                    <a:pt x="143" y="86"/>
                  </a:lnTo>
                  <a:lnTo>
                    <a:pt x="141" y="94"/>
                  </a:lnTo>
                  <a:lnTo>
                    <a:pt x="139" y="101"/>
                  </a:lnTo>
                  <a:lnTo>
                    <a:pt x="136" y="107"/>
                  </a:lnTo>
                  <a:lnTo>
                    <a:pt x="133" y="112"/>
                  </a:lnTo>
                  <a:lnTo>
                    <a:pt x="129" y="118"/>
                  </a:lnTo>
                  <a:lnTo>
                    <a:pt x="124" y="123"/>
                  </a:lnTo>
                  <a:lnTo>
                    <a:pt x="119" y="127"/>
                  </a:lnTo>
                  <a:lnTo>
                    <a:pt x="114" y="130"/>
                  </a:lnTo>
                  <a:lnTo>
                    <a:pt x="108" y="133"/>
                  </a:lnTo>
                  <a:lnTo>
                    <a:pt x="101" y="136"/>
                  </a:lnTo>
                  <a:lnTo>
                    <a:pt x="95" y="137"/>
                  </a:lnTo>
                  <a:lnTo>
                    <a:pt x="87" y="139"/>
                  </a:lnTo>
                  <a:lnTo>
                    <a:pt x="71" y="140"/>
                  </a:lnTo>
                  <a:lnTo>
                    <a:pt x="46" y="140"/>
                  </a:lnTo>
                  <a:lnTo>
                    <a:pt x="46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6" y="105"/>
                  </a:moveTo>
                  <a:lnTo>
                    <a:pt x="67" y="105"/>
                  </a:lnTo>
                  <a:lnTo>
                    <a:pt x="67" y="105"/>
                  </a:lnTo>
                  <a:lnTo>
                    <a:pt x="74" y="104"/>
                  </a:lnTo>
                  <a:lnTo>
                    <a:pt x="80" y="103"/>
                  </a:lnTo>
                  <a:lnTo>
                    <a:pt x="85" y="100"/>
                  </a:lnTo>
                  <a:lnTo>
                    <a:pt x="90" y="96"/>
                  </a:lnTo>
                  <a:lnTo>
                    <a:pt x="93" y="92"/>
                  </a:lnTo>
                  <a:lnTo>
                    <a:pt x="96" y="86"/>
                  </a:lnTo>
                  <a:lnTo>
                    <a:pt x="98" y="79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62"/>
                  </a:lnTo>
                  <a:lnTo>
                    <a:pt x="97" y="55"/>
                  </a:lnTo>
                  <a:lnTo>
                    <a:pt x="94" y="49"/>
                  </a:lnTo>
                  <a:lnTo>
                    <a:pt x="91" y="44"/>
                  </a:lnTo>
                  <a:lnTo>
                    <a:pt x="87" y="40"/>
                  </a:lnTo>
                  <a:lnTo>
                    <a:pt x="81" y="37"/>
                  </a:lnTo>
                  <a:lnTo>
                    <a:pt x="74" y="35"/>
                  </a:lnTo>
                  <a:lnTo>
                    <a:pt x="65" y="34"/>
                  </a:lnTo>
                  <a:lnTo>
                    <a:pt x="46" y="34"/>
                  </a:lnTo>
                  <a:lnTo>
                    <a:pt x="46" y="105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8188325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8315325" y="4805363"/>
              <a:ext cx="82550" cy="123825"/>
            </a:xfrm>
            <a:custGeom>
              <a:avLst/>
              <a:gdLst>
                <a:gd name="T0" fmla="*/ 87 w 157"/>
                <a:gd name="T1" fmla="*/ 0 h 232"/>
                <a:gd name="T2" fmla="*/ 101 w 157"/>
                <a:gd name="T3" fmla="*/ 1 h 232"/>
                <a:gd name="T4" fmla="*/ 124 w 157"/>
                <a:gd name="T5" fmla="*/ 9 h 232"/>
                <a:gd name="T6" fmla="*/ 132 w 157"/>
                <a:gd name="T7" fmla="*/ 15 h 232"/>
                <a:gd name="T8" fmla="*/ 139 w 157"/>
                <a:gd name="T9" fmla="*/ 23 h 232"/>
                <a:gd name="T10" fmla="*/ 144 w 157"/>
                <a:gd name="T11" fmla="*/ 33 h 232"/>
                <a:gd name="T12" fmla="*/ 147 w 157"/>
                <a:gd name="T13" fmla="*/ 46 h 232"/>
                <a:gd name="T14" fmla="*/ 149 w 157"/>
                <a:gd name="T15" fmla="*/ 60 h 232"/>
                <a:gd name="T16" fmla="*/ 146 w 157"/>
                <a:gd name="T17" fmla="*/ 81 h 232"/>
                <a:gd name="T18" fmla="*/ 139 w 157"/>
                <a:gd name="T19" fmla="*/ 98 h 232"/>
                <a:gd name="T20" fmla="*/ 127 w 157"/>
                <a:gd name="T21" fmla="*/ 110 h 232"/>
                <a:gd name="T22" fmla="*/ 110 w 157"/>
                <a:gd name="T23" fmla="*/ 118 h 232"/>
                <a:gd name="T24" fmla="*/ 110 w 157"/>
                <a:gd name="T25" fmla="*/ 118 h 232"/>
                <a:gd name="T26" fmla="*/ 129 w 157"/>
                <a:gd name="T27" fmla="*/ 124 h 232"/>
                <a:gd name="T28" fmla="*/ 136 w 157"/>
                <a:gd name="T29" fmla="*/ 129 h 232"/>
                <a:gd name="T30" fmla="*/ 140 w 157"/>
                <a:gd name="T31" fmla="*/ 137 h 232"/>
                <a:gd name="T32" fmla="*/ 146 w 157"/>
                <a:gd name="T33" fmla="*/ 157 h 232"/>
                <a:gd name="T34" fmla="*/ 147 w 157"/>
                <a:gd name="T35" fmla="*/ 188 h 232"/>
                <a:gd name="T36" fmla="*/ 148 w 157"/>
                <a:gd name="T37" fmla="*/ 205 h 232"/>
                <a:gd name="T38" fmla="*/ 151 w 157"/>
                <a:gd name="T39" fmla="*/ 221 h 232"/>
                <a:gd name="T40" fmla="*/ 155 w 157"/>
                <a:gd name="T41" fmla="*/ 228 h 232"/>
                <a:gd name="T42" fmla="*/ 157 w 157"/>
                <a:gd name="T43" fmla="*/ 232 h 232"/>
                <a:gd name="T44" fmla="*/ 108 w 157"/>
                <a:gd name="T45" fmla="*/ 232 h 232"/>
                <a:gd name="T46" fmla="*/ 103 w 157"/>
                <a:gd name="T47" fmla="*/ 221 h 232"/>
                <a:gd name="T48" fmla="*/ 102 w 157"/>
                <a:gd name="T49" fmla="*/ 208 h 232"/>
                <a:gd name="T50" fmla="*/ 100 w 157"/>
                <a:gd name="T51" fmla="*/ 163 h 232"/>
                <a:gd name="T52" fmla="*/ 99 w 157"/>
                <a:gd name="T53" fmla="*/ 151 h 232"/>
                <a:gd name="T54" fmla="*/ 94 w 157"/>
                <a:gd name="T55" fmla="*/ 142 h 232"/>
                <a:gd name="T56" fmla="*/ 84 w 157"/>
                <a:gd name="T57" fmla="*/ 136 h 232"/>
                <a:gd name="T58" fmla="*/ 72 w 157"/>
                <a:gd name="T59" fmla="*/ 134 h 232"/>
                <a:gd name="T60" fmla="*/ 48 w 157"/>
                <a:gd name="T61" fmla="*/ 232 h 232"/>
                <a:gd name="T62" fmla="*/ 0 w 157"/>
                <a:gd name="T63" fmla="*/ 0 h 232"/>
                <a:gd name="T64" fmla="*/ 67 w 157"/>
                <a:gd name="T65" fmla="*/ 101 h 232"/>
                <a:gd name="T66" fmla="*/ 75 w 157"/>
                <a:gd name="T67" fmla="*/ 101 h 232"/>
                <a:gd name="T68" fmla="*/ 87 w 157"/>
                <a:gd name="T69" fmla="*/ 97 h 232"/>
                <a:gd name="T70" fmla="*/ 97 w 157"/>
                <a:gd name="T71" fmla="*/ 89 h 232"/>
                <a:gd name="T72" fmla="*/ 102 w 157"/>
                <a:gd name="T73" fmla="*/ 75 h 232"/>
                <a:gd name="T74" fmla="*/ 102 w 157"/>
                <a:gd name="T75" fmla="*/ 67 h 232"/>
                <a:gd name="T76" fmla="*/ 100 w 157"/>
                <a:gd name="T77" fmla="*/ 53 h 232"/>
                <a:gd name="T78" fmla="*/ 94 w 157"/>
                <a:gd name="T79" fmla="*/ 43 h 232"/>
                <a:gd name="T80" fmla="*/ 83 w 157"/>
                <a:gd name="T81" fmla="*/ 37 h 232"/>
                <a:gd name="T82" fmla="*/ 69 w 157"/>
                <a:gd name="T83" fmla="*/ 34 h 232"/>
                <a:gd name="T84" fmla="*/ 48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7" y="0"/>
                  </a:lnTo>
                  <a:lnTo>
                    <a:pt x="87" y="0"/>
                  </a:lnTo>
                  <a:lnTo>
                    <a:pt x="101" y="1"/>
                  </a:lnTo>
                  <a:lnTo>
                    <a:pt x="113" y="4"/>
                  </a:lnTo>
                  <a:lnTo>
                    <a:pt x="124" y="9"/>
                  </a:lnTo>
                  <a:lnTo>
                    <a:pt x="128" y="12"/>
                  </a:lnTo>
                  <a:lnTo>
                    <a:pt x="132" y="15"/>
                  </a:lnTo>
                  <a:lnTo>
                    <a:pt x="136" y="19"/>
                  </a:lnTo>
                  <a:lnTo>
                    <a:pt x="139" y="23"/>
                  </a:lnTo>
                  <a:lnTo>
                    <a:pt x="142" y="28"/>
                  </a:lnTo>
                  <a:lnTo>
                    <a:pt x="144" y="33"/>
                  </a:lnTo>
                  <a:lnTo>
                    <a:pt x="146" y="40"/>
                  </a:lnTo>
                  <a:lnTo>
                    <a:pt x="147" y="46"/>
                  </a:lnTo>
                  <a:lnTo>
                    <a:pt x="149" y="60"/>
                  </a:lnTo>
                  <a:lnTo>
                    <a:pt x="149" y="60"/>
                  </a:lnTo>
                  <a:lnTo>
                    <a:pt x="148" y="71"/>
                  </a:lnTo>
                  <a:lnTo>
                    <a:pt x="146" y="81"/>
                  </a:lnTo>
                  <a:lnTo>
                    <a:pt x="143" y="90"/>
                  </a:lnTo>
                  <a:lnTo>
                    <a:pt x="139" y="98"/>
                  </a:lnTo>
                  <a:lnTo>
                    <a:pt x="134" y="104"/>
                  </a:lnTo>
                  <a:lnTo>
                    <a:pt x="127" y="110"/>
                  </a:lnTo>
                  <a:lnTo>
                    <a:pt x="119" y="114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21" y="120"/>
                  </a:lnTo>
                  <a:lnTo>
                    <a:pt x="129" y="124"/>
                  </a:lnTo>
                  <a:lnTo>
                    <a:pt x="133" y="126"/>
                  </a:lnTo>
                  <a:lnTo>
                    <a:pt x="136" y="129"/>
                  </a:lnTo>
                  <a:lnTo>
                    <a:pt x="138" y="133"/>
                  </a:lnTo>
                  <a:lnTo>
                    <a:pt x="140" y="137"/>
                  </a:lnTo>
                  <a:lnTo>
                    <a:pt x="144" y="146"/>
                  </a:lnTo>
                  <a:lnTo>
                    <a:pt x="146" y="157"/>
                  </a:lnTo>
                  <a:lnTo>
                    <a:pt x="147" y="171"/>
                  </a:lnTo>
                  <a:lnTo>
                    <a:pt x="147" y="188"/>
                  </a:lnTo>
                  <a:lnTo>
                    <a:pt x="147" y="188"/>
                  </a:lnTo>
                  <a:lnTo>
                    <a:pt x="148" y="205"/>
                  </a:lnTo>
                  <a:lnTo>
                    <a:pt x="149" y="217"/>
                  </a:lnTo>
                  <a:lnTo>
                    <a:pt x="151" y="221"/>
                  </a:lnTo>
                  <a:lnTo>
                    <a:pt x="152" y="225"/>
                  </a:lnTo>
                  <a:lnTo>
                    <a:pt x="155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5" y="227"/>
                  </a:lnTo>
                  <a:lnTo>
                    <a:pt x="103" y="221"/>
                  </a:lnTo>
                  <a:lnTo>
                    <a:pt x="102" y="215"/>
                  </a:lnTo>
                  <a:lnTo>
                    <a:pt x="102" y="208"/>
                  </a:lnTo>
                  <a:lnTo>
                    <a:pt x="100" y="163"/>
                  </a:lnTo>
                  <a:lnTo>
                    <a:pt x="100" y="163"/>
                  </a:lnTo>
                  <a:lnTo>
                    <a:pt x="100" y="157"/>
                  </a:lnTo>
                  <a:lnTo>
                    <a:pt x="99" y="151"/>
                  </a:lnTo>
                  <a:lnTo>
                    <a:pt x="96" y="146"/>
                  </a:lnTo>
                  <a:lnTo>
                    <a:pt x="94" y="142"/>
                  </a:lnTo>
                  <a:lnTo>
                    <a:pt x="89" y="139"/>
                  </a:lnTo>
                  <a:lnTo>
                    <a:pt x="84" y="136"/>
                  </a:lnTo>
                  <a:lnTo>
                    <a:pt x="79" y="135"/>
                  </a:lnTo>
                  <a:lnTo>
                    <a:pt x="72" y="134"/>
                  </a:lnTo>
                  <a:lnTo>
                    <a:pt x="48" y="134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8" y="101"/>
                  </a:moveTo>
                  <a:lnTo>
                    <a:pt x="67" y="101"/>
                  </a:lnTo>
                  <a:lnTo>
                    <a:pt x="67" y="101"/>
                  </a:lnTo>
                  <a:lnTo>
                    <a:pt x="75" y="101"/>
                  </a:lnTo>
                  <a:lnTo>
                    <a:pt x="82" y="99"/>
                  </a:lnTo>
                  <a:lnTo>
                    <a:pt x="87" y="97"/>
                  </a:lnTo>
                  <a:lnTo>
                    <a:pt x="92" y="93"/>
                  </a:lnTo>
                  <a:lnTo>
                    <a:pt x="97" y="89"/>
                  </a:lnTo>
                  <a:lnTo>
                    <a:pt x="100" y="83"/>
                  </a:lnTo>
                  <a:lnTo>
                    <a:pt x="102" y="75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2" y="59"/>
                  </a:lnTo>
                  <a:lnTo>
                    <a:pt x="100" y="53"/>
                  </a:lnTo>
                  <a:lnTo>
                    <a:pt x="98" y="48"/>
                  </a:lnTo>
                  <a:lnTo>
                    <a:pt x="94" y="43"/>
                  </a:lnTo>
                  <a:lnTo>
                    <a:pt x="89" y="40"/>
                  </a:lnTo>
                  <a:lnTo>
                    <a:pt x="83" y="37"/>
                  </a:lnTo>
                  <a:lnTo>
                    <a:pt x="77" y="35"/>
                  </a:lnTo>
                  <a:lnTo>
                    <a:pt x="69" y="34"/>
                  </a:lnTo>
                  <a:lnTo>
                    <a:pt x="48" y="34"/>
                  </a:lnTo>
                  <a:lnTo>
                    <a:pt x="48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8413750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8497888" y="4805363"/>
              <a:ext cx="80963" cy="123825"/>
            </a:xfrm>
            <a:custGeom>
              <a:avLst/>
              <a:gdLst>
                <a:gd name="T0" fmla="*/ 54 w 154"/>
                <a:gd name="T1" fmla="*/ 0 h 232"/>
                <a:gd name="T2" fmla="*/ 111 w 154"/>
                <a:gd name="T3" fmla="*/ 159 h 232"/>
                <a:gd name="T4" fmla="*/ 112 w 154"/>
                <a:gd name="T5" fmla="*/ 159 h 232"/>
                <a:gd name="T6" fmla="*/ 112 w 154"/>
                <a:gd name="T7" fmla="*/ 0 h 232"/>
                <a:gd name="T8" fmla="*/ 154 w 154"/>
                <a:gd name="T9" fmla="*/ 0 h 232"/>
                <a:gd name="T10" fmla="*/ 154 w 154"/>
                <a:gd name="T11" fmla="*/ 232 h 232"/>
                <a:gd name="T12" fmla="*/ 102 w 154"/>
                <a:gd name="T13" fmla="*/ 232 h 232"/>
                <a:gd name="T14" fmla="*/ 44 w 154"/>
                <a:gd name="T15" fmla="*/ 70 h 232"/>
                <a:gd name="T16" fmla="*/ 44 w 154"/>
                <a:gd name="T17" fmla="*/ 70 h 232"/>
                <a:gd name="T18" fmla="*/ 44 w 154"/>
                <a:gd name="T19" fmla="*/ 232 h 232"/>
                <a:gd name="T20" fmla="*/ 0 w 154"/>
                <a:gd name="T21" fmla="*/ 232 h 232"/>
                <a:gd name="T22" fmla="*/ 0 w 154"/>
                <a:gd name="T23" fmla="*/ 0 h 232"/>
                <a:gd name="T24" fmla="*/ 54 w 154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232">
                  <a:moveTo>
                    <a:pt x="54" y="0"/>
                  </a:moveTo>
                  <a:lnTo>
                    <a:pt x="111" y="159"/>
                  </a:lnTo>
                  <a:lnTo>
                    <a:pt x="112" y="159"/>
                  </a:lnTo>
                  <a:lnTo>
                    <a:pt x="112" y="0"/>
                  </a:lnTo>
                  <a:lnTo>
                    <a:pt x="154" y="0"/>
                  </a:lnTo>
                  <a:lnTo>
                    <a:pt x="154" y="232"/>
                  </a:lnTo>
                  <a:lnTo>
                    <a:pt x="102" y="232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4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8589963" y="4805363"/>
              <a:ext cx="95250" cy="123825"/>
            </a:xfrm>
            <a:custGeom>
              <a:avLst/>
              <a:gdLst>
                <a:gd name="T0" fmla="*/ 61 w 180"/>
                <a:gd name="T1" fmla="*/ 0 h 232"/>
                <a:gd name="T2" fmla="*/ 119 w 180"/>
                <a:gd name="T3" fmla="*/ 0 h 232"/>
                <a:gd name="T4" fmla="*/ 180 w 180"/>
                <a:gd name="T5" fmla="*/ 232 h 232"/>
                <a:gd name="T6" fmla="*/ 131 w 180"/>
                <a:gd name="T7" fmla="*/ 232 h 232"/>
                <a:gd name="T8" fmla="*/ 121 w 180"/>
                <a:gd name="T9" fmla="*/ 183 h 232"/>
                <a:gd name="T10" fmla="*/ 59 w 180"/>
                <a:gd name="T11" fmla="*/ 183 h 232"/>
                <a:gd name="T12" fmla="*/ 48 w 180"/>
                <a:gd name="T13" fmla="*/ 232 h 232"/>
                <a:gd name="T14" fmla="*/ 0 w 180"/>
                <a:gd name="T15" fmla="*/ 232 h 232"/>
                <a:gd name="T16" fmla="*/ 61 w 180"/>
                <a:gd name="T17" fmla="*/ 0 h 232"/>
                <a:gd name="T18" fmla="*/ 67 w 180"/>
                <a:gd name="T19" fmla="*/ 145 h 232"/>
                <a:gd name="T20" fmla="*/ 113 w 180"/>
                <a:gd name="T21" fmla="*/ 145 h 232"/>
                <a:gd name="T22" fmla="*/ 90 w 180"/>
                <a:gd name="T23" fmla="*/ 41 h 232"/>
                <a:gd name="T24" fmla="*/ 90 w 180"/>
                <a:gd name="T25" fmla="*/ 41 h 232"/>
                <a:gd name="T26" fmla="*/ 67 w 180"/>
                <a:gd name="T27" fmla="*/ 14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0" h="232">
                  <a:moveTo>
                    <a:pt x="61" y="0"/>
                  </a:moveTo>
                  <a:lnTo>
                    <a:pt x="119" y="0"/>
                  </a:lnTo>
                  <a:lnTo>
                    <a:pt x="180" y="232"/>
                  </a:lnTo>
                  <a:lnTo>
                    <a:pt x="131" y="232"/>
                  </a:lnTo>
                  <a:lnTo>
                    <a:pt x="121" y="183"/>
                  </a:lnTo>
                  <a:lnTo>
                    <a:pt x="59" y="183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61" y="0"/>
                  </a:lnTo>
                  <a:close/>
                  <a:moveTo>
                    <a:pt x="67" y="145"/>
                  </a:moveTo>
                  <a:lnTo>
                    <a:pt x="113" y="145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67" y="14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8691563" y="4805363"/>
              <a:ext cx="77788" cy="125413"/>
            </a:xfrm>
            <a:custGeom>
              <a:avLst/>
              <a:gdLst>
                <a:gd name="T0" fmla="*/ 46 w 148"/>
                <a:gd name="T1" fmla="*/ 0 h 236"/>
                <a:gd name="T2" fmla="*/ 46 w 148"/>
                <a:gd name="T3" fmla="*/ 162 h 236"/>
                <a:gd name="T4" fmla="*/ 46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49 w 148"/>
                <a:gd name="T11" fmla="*/ 184 h 236"/>
                <a:gd name="T12" fmla="*/ 52 w 148"/>
                <a:gd name="T13" fmla="*/ 190 h 236"/>
                <a:gd name="T14" fmla="*/ 55 w 148"/>
                <a:gd name="T15" fmla="*/ 195 h 236"/>
                <a:gd name="T16" fmla="*/ 60 w 148"/>
                <a:gd name="T17" fmla="*/ 199 h 236"/>
                <a:gd name="T18" fmla="*/ 67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2 w 148"/>
                <a:gd name="T25" fmla="*/ 202 h 236"/>
                <a:gd name="T26" fmla="*/ 88 w 148"/>
                <a:gd name="T27" fmla="*/ 199 h 236"/>
                <a:gd name="T28" fmla="*/ 92 w 148"/>
                <a:gd name="T29" fmla="*/ 195 h 236"/>
                <a:gd name="T30" fmla="*/ 96 w 148"/>
                <a:gd name="T31" fmla="*/ 190 h 236"/>
                <a:gd name="T32" fmla="*/ 98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1 w 148"/>
                <a:gd name="T39" fmla="*/ 162 h 236"/>
                <a:gd name="T40" fmla="*/ 101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8 w 148"/>
                <a:gd name="T49" fmla="*/ 172 h 236"/>
                <a:gd name="T50" fmla="*/ 147 w 148"/>
                <a:gd name="T51" fmla="*/ 182 h 236"/>
                <a:gd name="T52" fmla="*/ 144 w 148"/>
                <a:gd name="T53" fmla="*/ 190 h 236"/>
                <a:gd name="T54" fmla="*/ 141 w 148"/>
                <a:gd name="T55" fmla="*/ 199 h 236"/>
                <a:gd name="T56" fmla="*/ 138 w 148"/>
                <a:gd name="T57" fmla="*/ 206 h 236"/>
                <a:gd name="T58" fmla="*/ 134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8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59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6 w 148"/>
                <a:gd name="T97" fmla="*/ 200 h 236"/>
                <a:gd name="T98" fmla="*/ 4 w 148"/>
                <a:gd name="T99" fmla="*/ 191 h 236"/>
                <a:gd name="T100" fmla="*/ 2 w 148"/>
                <a:gd name="T101" fmla="*/ 182 h 236"/>
                <a:gd name="T102" fmla="*/ 1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6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6" y="0"/>
                  </a:moveTo>
                  <a:lnTo>
                    <a:pt x="46" y="162"/>
                  </a:lnTo>
                  <a:lnTo>
                    <a:pt x="46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49" y="184"/>
                  </a:lnTo>
                  <a:lnTo>
                    <a:pt x="52" y="190"/>
                  </a:lnTo>
                  <a:lnTo>
                    <a:pt x="55" y="195"/>
                  </a:lnTo>
                  <a:lnTo>
                    <a:pt x="60" y="199"/>
                  </a:lnTo>
                  <a:lnTo>
                    <a:pt x="67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2" y="202"/>
                  </a:lnTo>
                  <a:lnTo>
                    <a:pt x="88" y="199"/>
                  </a:lnTo>
                  <a:lnTo>
                    <a:pt x="92" y="195"/>
                  </a:lnTo>
                  <a:lnTo>
                    <a:pt x="96" y="190"/>
                  </a:lnTo>
                  <a:lnTo>
                    <a:pt x="98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1" y="162"/>
                  </a:lnTo>
                  <a:lnTo>
                    <a:pt x="101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8" y="172"/>
                  </a:lnTo>
                  <a:lnTo>
                    <a:pt x="147" y="182"/>
                  </a:lnTo>
                  <a:lnTo>
                    <a:pt x="144" y="190"/>
                  </a:lnTo>
                  <a:lnTo>
                    <a:pt x="141" y="199"/>
                  </a:lnTo>
                  <a:lnTo>
                    <a:pt x="138" y="206"/>
                  </a:lnTo>
                  <a:lnTo>
                    <a:pt x="134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8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59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6" y="200"/>
                  </a:lnTo>
                  <a:lnTo>
                    <a:pt x="4" y="191"/>
                  </a:lnTo>
                  <a:lnTo>
                    <a:pt x="2" y="182"/>
                  </a:lnTo>
                  <a:lnTo>
                    <a:pt x="1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8789988" y="4805363"/>
              <a:ext cx="69850" cy="123825"/>
            </a:xfrm>
            <a:custGeom>
              <a:avLst/>
              <a:gdLst>
                <a:gd name="T0" fmla="*/ 0 w 130"/>
                <a:gd name="T1" fmla="*/ 232 h 232"/>
                <a:gd name="T2" fmla="*/ 0 w 130"/>
                <a:gd name="T3" fmla="*/ 0 h 232"/>
                <a:gd name="T4" fmla="*/ 47 w 130"/>
                <a:gd name="T5" fmla="*/ 0 h 232"/>
                <a:gd name="T6" fmla="*/ 47 w 130"/>
                <a:gd name="T7" fmla="*/ 193 h 232"/>
                <a:gd name="T8" fmla="*/ 130 w 130"/>
                <a:gd name="T9" fmla="*/ 193 h 232"/>
                <a:gd name="T10" fmla="*/ 130 w 130"/>
                <a:gd name="T11" fmla="*/ 232 h 232"/>
                <a:gd name="T12" fmla="*/ 0 w 130"/>
                <a:gd name="T13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32">
                  <a:moveTo>
                    <a:pt x="0" y="232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93"/>
                  </a:lnTo>
                  <a:lnTo>
                    <a:pt x="130" y="193"/>
                  </a:lnTo>
                  <a:lnTo>
                    <a:pt x="130" y="232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8848725" y="4805363"/>
              <a:ext cx="77788" cy="123825"/>
            </a:xfrm>
            <a:custGeom>
              <a:avLst/>
              <a:gdLst>
                <a:gd name="T0" fmla="*/ 148 w 148"/>
                <a:gd name="T1" fmla="*/ 0 h 232"/>
                <a:gd name="T2" fmla="*/ 148 w 148"/>
                <a:gd name="T3" fmla="*/ 39 h 232"/>
                <a:gd name="T4" fmla="*/ 97 w 148"/>
                <a:gd name="T5" fmla="*/ 39 h 232"/>
                <a:gd name="T6" fmla="*/ 97 w 148"/>
                <a:gd name="T7" fmla="*/ 232 h 232"/>
                <a:gd name="T8" fmla="*/ 51 w 148"/>
                <a:gd name="T9" fmla="*/ 232 h 232"/>
                <a:gd name="T10" fmla="*/ 51 w 148"/>
                <a:gd name="T11" fmla="*/ 39 h 232"/>
                <a:gd name="T12" fmla="*/ 0 w 148"/>
                <a:gd name="T13" fmla="*/ 39 h 232"/>
                <a:gd name="T14" fmla="*/ 0 w 148"/>
                <a:gd name="T15" fmla="*/ 0 h 232"/>
                <a:gd name="T16" fmla="*/ 148 w 148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232">
                  <a:moveTo>
                    <a:pt x="148" y="0"/>
                  </a:moveTo>
                  <a:lnTo>
                    <a:pt x="148" y="39"/>
                  </a:lnTo>
                  <a:lnTo>
                    <a:pt x="97" y="39"/>
                  </a:lnTo>
                  <a:lnTo>
                    <a:pt x="97" y="232"/>
                  </a:lnTo>
                  <a:lnTo>
                    <a:pt x="51" y="232"/>
                  </a:lnTo>
                  <a:lnTo>
                    <a:pt x="51" y="39"/>
                  </a:lnTo>
                  <a:lnTo>
                    <a:pt x="0" y="39"/>
                  </a:lnTo>
                  <a:lnTo>
                    <a:pt x="0" y="0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3" name="Espace réservé du texte 22"/>
          <p:cNvSpPr>
            <a:spLocks noGrp="1"/>
          </p:cNvSpPr>
          <p:nvPr>
            <p:ph type="body" sz="quarter" idx="11" hasCustomPrompt="1"/>
          </p:nvPr>
        </p:nvSpPr>
        <p:spPr>
          <a:xfrm>
            <a:off x="2353653" y="6316619"/>
            <a:ext cx="1003502" cy="497735"/>
          </a:xfrm>
          <a:prstGeom prst="rect">
            <a:avLst/>
          </a:prstGeom>
        </p:spPr>
        <p:txBody>
          <a:bodyPr>
            <a:normAutofit/>
          </a:bodyPr>
          <a:lstStyle>
            <a:lvl1pPr marL="252009" indent="-252009">
              <a:buNone/>
              <a:defRPr lang="fr-FR" sz="8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F7B100"/>
              </a:buClr>
            </a:pPr>
            <a:r>
              <a:rPr lang="fr-FR" dirty="0"/>
              <a:t>DI-RC</a:t>
            </a:r>
          </a:p>
          <a:p>
            <a:pPr marL="0" lvl="0" indent="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F7B100"/>
              </a:buClr>
            </a:pPr>
            <a:r>
              <a:rPr lang="fr-FR" dirty="0"/>
              <a:t>Julie QUINIO</a:t>
            </a:r>
            <a:br>
              <a:rPr lang="fr-FR" dirty="0"/>
            </a:br>
            <a:endParaRPr lang="fr-FR" dirty="0"/>
          </a:p>
        </p:txBody>
      </p:sp>
      <p:sp>
        <p:nvSpPr>
          <p:cNvPr id="22" name="Espace réservé du texte 22"/>
          <p:cNvSpPr>
            <a:spLocks noGrp="1"/>
          </p:cNvSpPr>
          <p:nvPr>
            <p:ph type="body" sz="quarter" idx="12" hasCustomPrompt="1"/>
          </p:nvPr>
        </p:nvSpPr>
        <p:spPr>
          <a:xfrm>
            <a:off x="3898046" y="6426278"/>
            <a:ext cx="1003502" cy="356795"/>
          </a:xfrm>
          <a:prstGeom prst="rect">
            <a:avLst/>
          </a:prstGeom>
        </p:spPr>
        <p:txBody>
          <a:bodyPr>
            <a:normAutofit/>
          </a:bodyPr>
          <a:lstStyle>
            <a:lvl1pPr marL="252009" indent="-252009">
              <a:buNone/>
              <a:defRPr lang="fr-FR" sz="8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F7B100"/>
              </a:buClr>
            </a:pPr>
            <a:r>
              <a:rPr lang="fr-FR" dirty="0"/>
              <a:t>24/05/2017</a:t>
            </a: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998775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532086" y="1116829"/>
            <a:ext cx="7899956" cy="4664885"/>
          </a:xfrm>
          <a:prstGeom prst="rect">
            <a:avLst/>
          </a:prstGeom>
        </p:spPr>
        <p:txBody>
          <a:bodyPr lIns="0" tIns="0" rIns="0" bIns="0"/>
          <a:lstStyle>
            <a:lvl1pPr marL="174244" indent="-174244">
              <a:spcBef>
                <a:spcPts val="294"/>
              </a:spcBef>
              <a:buClr>
                <a:schemeClr val="accent1"/>
              </a:buClr>
              <a:defRPr sz="1764"/>
            </a:lvl1pPr>
            <a:lvl2pPr marL="441833" indent="-180467">
              <a:spcBef>
                <a:spcPts val="294"/>
              </a:spcBef>
              <a:buClr>
                <a:schemeClr val="tx1"/>
              </a:buClr>
              <a:buFont typeface="Arial" pitchFamily="34" charset="0"/>
              <a:buChar char="−"/>
              <a:defRPr sz="1568"/>
            </a:lvl2pPr>
            <a:lvl3pPr marL="701644" indent="-172689">
              <a:spcBef>
                <a:spcPts val="294"/>
              </a:spcBef>
              <a:buClr>
                <a:schemeClr val="tx1"/>
              </a:buClr>
              <a:buFont typeface="Arial" pitchFamily="34" charset="0"/>
              <a:buChar char="−"/>
              <a:tabLst/>
              <a:defRPr sz="1372"/>
            </a:lvl3pPr>
            <a:lvl4pPr marL="963010" indent="-174244">
              <a:spcBef>
                <a:spcPts val="294"/>
              </a:spcBef>
              <a:buClr>
                <a:schemeClr val="tx1"/>
              </a:buClr>
              <a:buFont typeface="Arial" pitchFamily="34" charset="0"/>
              <a:buChar char="−"/>
              <a:defRPr sz="1176"/>
            </a:lvl4pPr>
            <a:lvl5pPr marL="1230599" indent="-174244">
              <a:spcBef>
                <a:spcPts val="294"/>
              </a:spcBef>
              <a:buClr>
                <a:schemeClr val="tx1"/>
              </a:buClr>
              <a:buFont typeface="Arial" pitchFamily="34" charset="0"/>
              <a:buChar char="−"/>
              <a:defRPr sz="980"/>
            </a:lvl5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177362" y="183602"/>
            <a:ext cx="8255102" cy="21160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76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177362" y="389157"/>
            <a:ext cx="8257696" cy="338286"/>
          </a:xfrm>
          <a:prstGeom prst="rect">
            <a:avLst/>
          </a:prstGeom>
        </p:spPr>
        <p:txBody>
          <a:bodyPr lIns="0" tIns="0" rIns="0" bIns="0"/>
          <a:lstStyle>
            <a:lvl1pPr>
              <a:defRPr sz="1960" cap="all" baseline="0"/>
            </a:lvl1pPr>
          </a:lstStyle>
          <a:p>
            <a:r>
              <a:rPr lang="fr-FR" dirty="0"/>
              <a:t>PAGE TITLE</a:t>
            </a:r>
          </a:p>
        </p:txBody>
      </p:sp>
    </p:spTree>
    <p:extLst>
      <p:ext uri="{BB962C8B-B14F-4D97-AF65-F5344CB8AC3E}">
        <p14:creationId xmlns:p14="http://schemas.microsoft.com/office/powerpoint/2010/main" val="353348299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1x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75806" y="855744"/>
            <a:ext cx="8608271" cy="5115789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endParaRPr lang="fr-FR" dirty="0"/>
          </a:p>
        </p:txBody>
      </p:sp>
      <p:sp>
        <p:nvSpPr>
          <p:cNvPr id="28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175808" y="185152"/>
            <a:ext cx="8609826" cy="4937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744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003691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図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06936"/>
            <a:ext cx="8961438" cy="633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11" name="Rectangle 67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269009" y="1854629"/>
            <a:ext cx="4234221" cy="1120246"/>
          </a:xfrm>
        </p:spPr>
        <p:txBody>
          <a:bodyPr/>
          <a:lstStyle>
            <a:lvl1pPr algn="r">
              <a:defRPr sz="31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US" altLang="ja-JP" noProof="0" dirty="0"/>
              <a:t>Project name</a:t>
            </a:r>
            <a:endParaRPr lang="ja-JP" altLang="en-US" noProof="0" dirty="0"/>
          </a:p>
        </p:txBody>
      </p:sp>
      <p:sp>
        <p:nvSpPr>
          <p:cNvPr id="6212" name="Rectangle 68" descr="Rectangle: Click to edit Master text styles&#10;Second level&#10;Third level&#10;Fourth level&#10;Fifth level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48452" y="4344066"/>
            <a:ext cx="3675431" cy="925759"/>
          </a:xfrm>
        </p:spPr>
        <p:txBody>
          <a:bodyPr/>
          <a:lstStyle>
            <a:lvl1pPr marL="0" indent="0" algn="r">
              <a:buFont typeface="Wingdings" pitchFamily="2" charset="2"/>
              <a:buNone/>
              <a:defRPr sz="2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US" altLang="ja-JP" noProof="0" dirty="0"/>
              <a:t>Author of document </a:t>
            </a:r>
            <a:r>
              <a:rPr lang="en-US" altLang="ja-JP" noProof="0" dirty="0" err="1"/>
              <a:t>yyyy</a:t>
            </a:r>
            <a:r>
              <a:rPr lang="en-US" altLang="ja-JP" noProof="0" dirty="0"/>
              <a:t>/mm/</a:t>
            </a:r>
            <a:r>
              <a:rPr lang="en-US" altLang="ja-JP" noProof="0" dirty="0" err="1"/>
              <a:t>dd</a:t>
            </a:r>
            <a:endParaRPr lang="ja-JP" altLang="en-US" noProof="0" dirty="0"/>
          </a:p>
        </p:txBody>
      </p:sp>
      <p:sp>
        <p:nvSpPr>
          <p:cNvPr id="6" name="Rectangle 67"/>
          <p:cNvSpPr txBox="1">
            <a:spLocks noChangeArrowheads="1"/>
          </p:cNvSpPr>
          <p:nvPr userDrawn="1"/>
        </p:nvSpPr>
        <p:spPr bwMode="auto">
          <a:xfrm>
            <a:off x="3246784" y="0"/>
            <a:ext cx="5322708" cy="675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611" tIns="44806" rIns="89611" bIns="44806" numCol="1" anchor="b" anchorCtr="0" compatLnSpc="1">
            <a:prstTxWarp prst="textNoShape">
              <a:avLst/>
            </a:prstTxWarp>
          </a:bodyPr>
          <a:lstStyle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kumimoji="1" sz="31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itchFamily="34" charset="0"/>
                <a:ea typeface="+mj-ea"/>
                <a:cs typeface="Verdana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7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7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7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7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5pPr>
            <a:lvl6pPr marL="448056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7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6pPr>
            <a:lvl7pPr marL="896112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7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7pPr>
            <a:lvl8pPr marL="1344168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7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8pPr>
            <a:lvl9pPr marL="1792224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700">
                <a:solidFill>
                  <a:srgbClr val="000000"/>
                </a:solidFill>
                <a:latin typeface="NissanAG-Medium" pitchFamily="50" charset="0"/>
                <a:ea typeface="ＭＳ Ｐゴシック" charset="-128"/>
              </a:defRPr>
            </a:lvl9pPr>
          </a:lstStyle>
          <a:p>
            <a:r>
              <a:rPr lang="en-US" altLang="ja-JP" sz="1600" kern="0" dirty="0">
                <a:solidFill>
                  <a:srgbClr val="C00000"/>
                </a:solidFill>
                <a:effectLst/>
              </a:rPr>
              <a:t>A</a:t>
            </a:r>
            <a:r>
              <a:rPr lang="en-US" altLang="ja-JP" sz="1600" kern="0" dirty="0">
                <a:solidFill>
                  <a:schemeClr val="tx1"/>
                </a:solidFill>
                <a:effectLst/>
              </a:rPr>
              <a:t>lliance </a:t>
            </a:r>
            <a:r>
              <a:rPr lang="en-US" altLang="ja-JP" sz="1600" kern="0" dirty="0">
                <a:solidFill>
                  <a:srgbClr val="C00000"/>
                </a:solidFill>
                <a:effectLst/>
              </a:rPr>
              <a:t>P</a:t>
            </a:r>
            <a:r>
              <a:rPr lang="en-US" altLang="ja-JP" sz="1600" kern="0" dirty="0">
                <a:solidFill>
                  <a:schemeClr val="tx1"/>
                </a:solidFill>
                <a:effectLst/>
              </a:rPr>
              <a:t>roject </a:t>
            </a:r>
            <a:r>
              <a:rPr lang="en-US" altLang="ja-JP" sz="1600" kern="0" dirty="0">
                <a:solidFill>
                  <a:srgbClr val="C00000"/>
                </a:solidFill>
                <a:effectLst/>
              </a:rPr>
              <a:t>M</a:t>
            </a:r>
            <a:r>
              <a:rPr lang="en-US" altLang="ja-JP" sz="1600" kern="0" dirty="0">
                <a:solidFill>
                  <a:schemeClr val="tx1"/>
                </a:solidFill>
                <a:effectLst/>
              </a:rPr>
              <a:t>anagement </a:t>
            </a:r>
            <a:r>
              <a:rPr lang="en-US" altLang="ja-JP" sz="1600" kern="0" dirty="0">
                <a:solidFill>
                  <a:srgbClr val="C00000"/>
                </a:solidFill>
                <a:effectLst/>
              </a:rPr>
              <a:t>M</a:t>
            </a:r>
            <a:r>
              <a:rPr lang="en-US" altLang="ja-JP" sz="1600" kern="0" dirty="0">
                <a:solidFill>
                  <a:schemeClr val="tx1"/>
                </a:solidFill>
                <a:effectLst/>
              </a:rPr>
              <a:t>ethod</a:t>
            </a:r>
          </a:p>
          <a:p>
            <a:r>
              <a:rPr lang="en-US" altLang="ja-JP" sz="2400" kern="0" dirty="0">
                <a:solidFill>
                  <a:schemeClr val="tx1"/>
                </a:solidFill>
              </a:rPr>
              <a:t>Project Initiate Phase Document</a:t>
            </a:r>
            <a:endParaRPr lang="ja-JP" altLang="en-US" sz="2400" kern="0" dirty="0">
              <a:solidFill>
                <a:schemeClr val="tx1"/>
              </a:solidFill>
            </a:endParaRPr>
          </a:p>
        </p:txBody>
      </p:sp>
      <p:sp>
        <p:nvSpPr>
          <p:cNvPr id="2" name="Alliance_Labeling"/>
          <p:cNvSpPr txBox="1"/>
          <p:nvPr userDrawn="1"/>
        </p:nvSpPr>
        <p:spPr>
          <a:xfrm>
            <a:off x="6512143" y="6415509"/>
            <a:ext cx="1666657" cy="226591"/>
          </a:xfrm>
          <a:prstGeom prst="rect">
            <a:avLst/>
          </a:prstGeom>
          <a:solidFill>
            <a:srgbClr val="FFFFFF"/>
          </a:solidFill>
          <a:ln w="12700" cmpd="sng">
            <a:solidFill>
              <a:srgbClr val="000000"/>
            </a:solidFill>
          </a:ln>
        </p:spPr>
        <p:txBody>
          <a:bodyPr vert="horz" wrap="none" lIns="72000" tIns="36000" rIns="72000" bIns="3600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>
                <a:solidFill>
                  <a:srgbClr val="000000"/>
                </a:solidFill>
                <a:latin typeface="Verdana"/>
              </a:rPr>
              <a:t>Renault Nissan Internal</a:t>
            </a:r>
          </a:p>
        </p:txBody>
      </p:sp>
    </p:spTree>
    <p:extLst>
      <p:ext uri="{BB962C8B-B14F-4D97-AF65-F5344CB8AC3E}">
        <p14:creationId xmlns:p14="http://schemas.microsoft.com/office/powerpoint/2010/main" val="2448591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 sz="2400"/>
            </a:lvl1pPr>
            <a:lvl2pPr>
              <a:buClr>
                <a:schemeClr val="bg2"/>
              </a:buClr>
              <a:defRPr sz="2000"/>
            </a:lvl2pPr>
            <a:lvl3pPr>
              <a:buClr>
                <a:schemeClr val="tx2"/>
              </a:buClr>
              <a:defRPr sz="1800"/>
            </a:lvl3pPr>
            <a:lvl4pPr>
              <a:buClr>
                <a:schemeClr val="bg2"/>
              </a:buClr>
              <a:defRPr sz="16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0736390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2001456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236484" y="1121771"/>
            <a:ext cx="8484430" cy="5074313"/>
          </a:xfrm>
          <a:prstGeom prst="rect">
            <a:avLst/>
          </a:prstGeom>
        </p:spPr>
        <p:txBody>
          <a:bodyPr lIns="0" tIns="0" rIns="0" bIns="0"/>
          <a:lstStyle>
            <a:lvl1pPr marL="234353" indent="-234353">
              <a:spcBef>
                <a:spcPts val="294"/>
              </a:spcBef>
              <a:buClr>
                <a:schemeClr val="accent1"/>
              </a:buClr>
              <a:defRPr sz="2400"/>
            </a:lvl1pPr>
            <a:lvl2pPr marL="470779" indent="-236426">
              <a:spcBef>
                <a:spcPts val="294"/>
              </a:spcBef>
              <a:buClr>
                <a:schemeClr val="tx1"/>
              </a:buClr>
              <a:buFont typeface="Arial" pitchFamily="34" charset="0"/>
              <a:buChar char="−"/>
              <a:defRPr sz="2100"/>
            </a:lvl2pPr>
            <a:lvl3pPr marL="705132" indent="-234353">
              <a:spcBef>
                <a:spcPts val="294"/>
              </a:spcBef>
              <a:buClr>
                <a:schemeClr val="tx1"/>
              </a:buClr>
              <a:buFont typeface="Arial" pitchFamily="34" charset="0"/>
              <a:buChar char="−"/>
              <a:tabLst/>
              <a:defRPr sz="1800"/>
            </a:lvl3pPr>
            <a:lvl4pPr marL="935337" indent="-230205">
              <a:spcBef>
                <a:spcPts val="294"/>
              </a:spcBef>
              <a:buClr>
                <a:schemeClr val="tx1"/>
              </a:buClr>
              <a:buFont typeface="Arial" pitchFamily="34" charset="0"/>
              <a:buChar char="−"/>
              <a:defRPr sz="1600"/>
            </a:lvl4pPr>
            <a:lvl5pPr marL="1169690" indent="-234353">
              <a:spcBef>
                <a:spcPts val="294"/>
              </a:spcBef>
              <a:buClr>
                <a:schemeClr val="tx1"/>
              </a:buClr>
              <a:buFont typeface="Arial" pitchFamily="34" charset="0"/>
              <a:buChar char="−"/>
              <a:defRPr sz="1300"/>
            </a:lvl5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7" name="Titre 3"/>
          <p:cNvSpPr>
            <a:spLocks noGrp="1"/>
          </p:cNvSpPr>
          <p:nvPr>
            <p:ph type="title" hasCustomPrompt="1"/>
          </p:nvPr>
        </p:nvSpPr>
        <p:spPr>
          <a:xfrm>
            <a:off x="236484" y="300251"/>
            <a:ext cx="8486398" cy="532261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 cap="all" baseline="0">
                <a:latin typeface="Arial Narrow" panose="020B0606020202030204" pitchFamily="34" charset="0"/>
              </a:defRPr>
            </a:lvl1pPr>
          </a:lstStyle>
          <a:p>
            <a:r>
              <a:rPr lang="fr-FR" dirty="0"/>
              <a:t>PAGE TITLE</a:t>
            </a:r>
          </a:p>
        </p:txBody>
      </p:sp>
      <p:grpSp>
        <p:nvGrpSpPr>
          <p:cNvPr id="4" name="Groupe 3"/>
          <p:cNvGrpSpPr>
            <a:grpSpLocks noChangeAspect="1"/>
          </p:cNvGrpSpPr>
          <p:nvPr userDrawn="1"/>
        </p:nvGrpSpPr>
        <p:grpSpPr>
          <a:xfrm>
            <a:off x="7309664" y="6434507"/>
            <a:ext cx="1411250" cy="147591"/>
            <a:chOff x="7712075" y="4803775"/>
            <a:chExt cx="1214438" cy="127001"/>
          </a:xfrm>
        </p:grpSpPr>
        <p:sp>
          <p:nvSpPr>
            <p:cNvPr id="6" name="Freeform 5"/>
            <p:cNvSpPr>
              <a:spLocks/>
            </p:cNvSpPr>
            <p:nvPr userDrawn="1"/>
          </p:nvSpPr>
          <p:spPr bwMode="auto">
            <a:xfrm>
              <a:off x="7712075" y="4803775"/>
              <a:ext cx="80963" cy="127000"/>
            </a:xfrm>
            <a:custGeom>
              <a:avLst/>
              <a:gdLst>
                <a:gd name="T0" fmla="*/ 105 w 153"/>
                <a:gd name="T1" fmla="*/ 73 h 240"/>
                <a:gd name="T2" fmla="*/ 103 w 153"/>
                <a:gd name="T3" fmla="*/ 60 h 240"/>
                <a:gd name="T4" fmla="*/ 99 w 153"/>
                <a:gd name="T5" fmla="*/ 48 h 240"/>
                <a:gd name="T6" fmla="*/ 90 w 153"/>
                <a:gd name="T7" fmla="*/ 37 h 240"/>
                <a:gd name="T8" fmla="*/ 78 w 153"/>
                <a:gd name="T9" fmla="*/ 34 h 240"/>
                <a:gd name="T10" fmla="*/ 71 w 153"/>
                <a:gd name="T11" fmla="*/ 35 h 240"/>
                <a:gd name="T12" fmla="*/ 64 w 153"/>
                <a:gd name="T13" fmla="*/ 38 h 240"/>
                <a:gd name="T14" fmla="*/ 59 w 153"/>
                <a:gd name="T15" fmla="*/ 45 h 240"/>
                <a:gd name="T16" fmla="*/ 51 w 153"/>
                <a:gd name="T17" fmla="*/ 64 h 240"/>
                <a:gd name="T18" fmla="*/ 47 w 153"/>
                <a:gd name="T19" fmla="*/ 95 h 240"/>
                <a:gd name="T20" fmla="*/ 47 w 153"/>
                <a:gd name="T21" fmla="*/ 115 h 240"/>
                <a:gd name="T22" fmla="*/ 48 w 153"/>
                <a:gd name="T23" fmla="*/ 153 h 240"/>
                <a:gd name="T24" fmla="*/ 53 w 153"/>
                <a:gd name="T25" fmla="*/ 181 h 240"/>
                <a:gd name="T26" fmla="*/ 60 w 153"/>
                <a:gd name="T27" fmla="*/ 196 h 240"/>
                <a:gd name="T28" fmla="*/ 66 w 153"/>
                <a:gd name="T29" fmla="*/ 203 h 240"/>
                <a:gd name="T30" fmla="*/ 74 w 153"/>
                <a:gd name="T31" fmla="*/ 206 h 240"/>
                <a:gd name="T32" fmla="*/ 79 w 153"/>
                <a:gd name="T33" fmla="*/ 206 h 240"/>
                <a:gd name="T34" fmla="*/ 88 w 153"/>
                <a:gd name="T35" fmla="*/ 204 h 240"/>
                <a:gd name="T36" fmla="*/ 97 w 153"/>
                <a:gd name="T37" fmla="*/ 196 h 240"/>
                <a:gd name="T38" fmla="*/ 104 w 153"/>
                <a:gd name="T39" fmla="*/ 185 h 240"/>
                <a:gd name="T40" fmla="*/ 107 w 153"/>
                <a:gd name="T41" fmla="*/ 169 h 240"/>
                <a:gd name="T42" fmla="*/ 77 w 153"/>
                <a:gd name="T43" fmla="*/ 146 h 240"/>
                <a:gd name="T44" fmla="*/ 153 w 153"/>
                <a:gd name="T45" fmla="*/ 111 h 240"/>
                <a:gd name="T46" fmla="*/ 118 w 153"/>
                <a:gd name="T47" fmla="*/ 236 h 240"/>
                <a:gd name="T48" fmla="*/ 117 w 153"/>
                <a:gd name="T49" fmla="*/ 215 h 240"/>
                <a:gd name="T50" fmla="*/ 113 w 153"/>
                <a:gd name="T51" fmla="*/ 221 h 240"/>
                <a:gd name="T52" fmla="*/ 103 w 153"/>
                <a:gd name="T53" fmla="*/ 231 h 240"/>
                <a:gd name="T54" fmla="*/ 91 w 153"/>
                <a:gd name="T55" fmla="*/ 237 h 240"/>
                <a:gd name="T56" fmla="*/ 77 w 153"/>
                <a:gd name="T57" fmla="*/ 240 h 240"/>
                <a:gd name="T58" fmla="*/ 69 w 153"/>
                <a:gd name="T59" fmla="*/ 240 h 240"/>
                <a:gd name="T60" fmla="*/ 50 w 153"/>
                <a:gd name="T61" fmla="*/ 238 h 240"/>
                <a:gd name="T62" fmla="*/ 33 w 153"/>
                <a:gd name="T63" fmla="*/ 233 h 240"/>
                <a:gd name="T64" fmla="*/ 21 w 153"/>
                <a:gd name="T65" fmla="*/ 223 h 240"/>
                <a:gd name="T66" fmla="*/ 13 w 153"/>
                <a:gd name="T67" fmla="*/ 209 h 240"/>
                <a:gd name="T68" fmla="*/ 6 w 153"/>
                <a:gd name="T69" fmla="*/ 191 h 240"/>
                <a:gd name="T70" fmla="*/ 3 w 153"/>
                <a:gd name="T71" fmla="*/ 170 h 240"/>
                <a:gd name="T72" fmla="*/ 0 w 153"/>
                <a:gd name="T73" fmla="*/ 117 h 240"/>
                <a:gd name="T74" fmla="*/ 1 w 153"/>
                <a:gd name="T75" fmla="*/ 90 h 240"/>
                <a:gd name="T76" fmla="*/ 4 w 153"/>
                <a:gd name="T77" fmla="*/ 66 h 240"/>
                <a:gd name="T78" fmla="*/ 9 w 153"/>
                <a:gd name="T79" fmla="*/ 46 h 240"/>
                <a:gd name="T80" fmla="*/ 16 w 153"/>
                <a:gd name="T81" fmla="*/ 29 h 240"/>
                <a:gd name="T82" fmla="*/ 27 w 153"/>
                <a:gd name="T83" fmla="*/ 16 h 240"/>
                <a:gd name="T84" fmla="*/ 40 w 153"/>
                <a:gd name="T85" fmla="*/ 7 h 240"/>
                <a:gd name="T86" fmla="*/ 58 w 153"/>
                <a:gd name="T87" fmla="*/ 2 h 240"/>
                <a:gd name="T88" fmla="*/ 78 w 153"/>
                <a:gd name="T89" fmla="*/ 0 h 240"/>
                <a:gd name="T90" fmla="*/ 87 w 153"/>
                <a:gd name="T91" fmla="*/ 0 h 240"/>
                <a:gd name="T92" fmla="*/ 103 w 153"/>
                <a:gd name="T93" fmla="*/ 2 h 240"/>
                <a:gd name="T94" fmla="*/ 117 w 153"/>
                <a:gd name="T95" fmla="*/ 7 h 240"/>
                <a:gd name="T96" fmla="*/ 129 w 153"/>
                <a:gd name="T97" fmla="*/ 14 h 240"/>
                <a:gd name="T98" fmla="*/ 137 w 153"/>
                <a:gd name="T99" fmla="*/ 23 h 240"/>
                <a:gd name="T100" fmla="*/ 144 w 153"/>
                <a:gd name="T101" fmla="*/ 35 h 240"/>
                <a:gd name="T102" fmla="*/ 148 w 153"/>
                <a:gd name="T103" fmla="*/ 49 h 240"/>
                <a:gd name="T104" fmla="*/ 150 w 153"/>
                <a:gd name="T105" fmla="*/ 7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3" h="240">
                  <a:moveTo>
                    <a:pt x="105" y="73"/>
                  </a:moveTo>
                  <a:lnTo>
                    <a:pt x="105" y="73"/>
                  </a:lnTo>
                  <a:lnTo>
                    <a:pt x="104" y="67"/>
                  </a:lnTo>
                  <a:lnTo>
                    <a:pt x="103" y="60"/>
                  </a:lnTo>
                  <a:lnTo>
                    <a:pt x="101" y="53"/>
                  </a:lnTo>
                  <a:lnTo>
                    <a:pt x="99" y="48"/>
                  </a:lnTo>
                  <a:lnTo>
                    <a:pt x="95" y="42"/>
                  </a:lnTo>
                  <a:lnTo>
                    <a:pt x="90" y="37"/>
                  </a:lnTo>
                  <a:lnTo>
                    <a:pt x="85" y="35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1" y="35"/>
                  </a:lnTo>
                  <a:lnTo>
                    <a:pt x="67" y="36"/>
                  </a:lnTo>
                  <a:lnTo>
                    <a:pt x="64" y="38"/>
                  </a:lnTo>
                  <a:lnTo>
                    <a:pt x="61" y="42"/>
                  </a:lnTo>
                  <a:lnTo>
                    <a:pt x="59" y="45"/>
                  </a:lnTo>
                  <a:lnTo>
                    <a:pt x="54" y="53"/>
                  </a:lnTo>
                  <a:lnTo>
                    <a:pt x="51" y="64"/>
                  </a:lnTo>
                  <a:lnTo>
                    <a:pt x="49" y="78"/>
                  </a:lnTo>
                  <a:lnTo>
                    <a:pt x="47" y="9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35"/>
                  </a:lnTo>
                  <a:lnTo>
                    <a:pt x="48" y="153"/>
                  </a:lnTo>
                  <a:lnTo>
                    <a:pt x="50" y="168"/>
                  </a:lnTo>
                  <a:lnTo>
                    <a:pt x="53" y="181"/>
                  </a:lnTo>
                  <a:lnTo>
                    <a:pt x="57" y="192"/>
                  </a:lnTo>
                  <a:lnTo>
                    <a:pt x="60" y="196"/>
                  </a:lnTo>
                  <a:lnTo>
                    <a:pt x="63" y="199"/>
                  </a:lnTo>
                  <a:lnTo>
                    <a:pt x="66" y="203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lnTo>
                    <a:pt x="83" y="206"/>
                  </a:lnTo>
                  <a:lnTo>
                    <a:pt x="88" y="204"/>
                  </a:lnTo>
                  <a:lnTo>
                    <a:pt x="93" y="201"/>
                  </a:lnTo>
                  <a:lnTo>
                    <a:pt x="97" y="196"/>
                  </a:lnTo>
                  <a:lnTo>
                    <a:pt x="101" y="191"/>
                  </a:lnTo>
                  <a:lnTo>
                    <a:pt x="104" y="185"/>
                  </a:lnTo>
                  <a:lnTo>
                    <a:pt x="107" y="178"/>
                  </a:lnTo>
                  <a:lnTo>
                    <a:pt x="107" y="169"/>
                  </a:lnTo>
                  <a:lnTo>
                    <a:pt x="107" y="146"/>
                  </a:lnTo>
                  <a:lnTo>
                    <a:pt x="77" y="146"/>
                  </a:lnTo>
                  <a:lnTo>
                    <a:pt x="77" y="111"/>
                  </a:lnTo>
                  <a:lnTo>
                    <a:pt x="153" y="111"/>
                  </a:lnTo>
                  <a:lnTo>
                    <a:pt x="153" y="236"/>
                  </a:lnTo>
                  <a:lnTo>
                    <a:pt x="118" y="236"/>
                  </a:lnTo>
                  <a:lnTo>
                    <a:pt x="118" y="215"/>
                  </a:lnTo>
                  <a:lnTo>
                    <a:pt x="117" y="215"/>
                  </a:lnTo>
                  <a:lnTo>
                    <a:pt x="117" y="215"/>
                  </a:lnTo>
                  <a:lnTo>
                    <a:pt x="113" y="221"/>
                  </a:lnTo>
                  <a:lnTo>
                    <a:pt x="108" y="226"/>
                  </a:lnTo>
                  <a:lnTo>
                    <a:pt x="103" y="231"/>
                  </a:lnTo>
                  <a:lnTo>
                    <a:pt x="97" y="234"/>
                  </a:lnTo>
                  <a:lnTo>
                    <a:pt x="91" y="237"/>
                  </a:lnTo>
                  <a:lnTo>
                    <a:pt x="84" y="239"/>
                  </a:lnTo>
                  <a:lnTo>
                    <a:pt x="77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59" y="240"/>
                  </a:lnTo>
                  <a:lnTo>
                    <a:pt x="50" y="238"/>
                  </a:lnTo>
                  <a:lnTo>
                    <a:pt x="41" y="236"/>
                  </a:lnTo>
                  <a:lnTo>
                    <a:pt x="33" y="233"/>
                  </a:lnTo>
                  <a:lnTo>
                    <a:pt x="27" y="228"/>
                  </a:lnTo>
                  <a:lnTo>
                    <a:pt x="21" y="223"/>
                  </a:lnTo>
                  <a:lnTo>
                    <a:pt x="17" y="217"/>
                  </a:lnTo>
                  <a:lnTo>
                    <a:pt x="13" y="209"/>
                  </a:lnTo>
                  <a:lnTo>
                    <a:pt x="9" y="201"/>
                  </a:lnTo>
                  <a:lnTo>
                    <a:pt x="6" y="191"/>
                  </a:lnTo>
                  <a:lnTo>
                    <a:pt x="4" y="181"/>
                  </a:lnTo>
                  <a:lnTo>
                    <a:pt x="3" y="170"/>
                  </a:lnTo>
                  <a:lnTo>
                    <a:pt x="1" y="14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1" y="90"/>
                  </a:lnTo>
                  <a:lnTo>
                    <a:pt x="2" y="78"/>
                  </a:lnTo>
                  <a:lnTo>
                    <a:pt x="4" y="66"/>
                  </a:lnTo>
                  <a:lnTo>
                    <a:pt x="6" y="56"/>
                  </a:lnTo>
                  <a:lnTo>
                    <a:pt x="9" y="46"/>
                  </a:lnTo>
                  <a:lnTo>
                    <a:pt x="12" y="37"/>
                  </a:lnTo>
                  <a:lnTo>
                    <a:pt x="16" y="29"/>
                  </a:lnTo>
                  <a:lnTo>
                    <a:pt x="21" y="22"/>
                  </a:lnTo>
                  <a:lnTo>
                    <a:pt x="27" y="16"/>
                  </a:lnTo>
                  <a:lnTo>
                    <a:pt x="33" y="11"/>
                  </a:lnTo>
                  <a:lnTo>
                    <a:pt x="40" y="7"/>
                  </a:lnTo>
                  <a:lnTo>
                    <a:pt x="49" y="4"/>
                  </a:lnTo>
                  <a:lnTo>
                    <a:pt x="58" y="2"/>
                  </a:lnTo>
                  <a:lnTo>
                    <a:pt x="67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7" y="0"/>
                  </a:lnTo>
                  <a:lnTo>
                    <a:pt x="95" y="1"/>
                  </a:lnTo>
                  <a:lnTo>
                    <a:pt x="103" y="2"/>
                  </a:lnTo>
                  <a:lnTo>
                    <a:pt x="110" y="4"/>
                  </a:lnTo>
                  <a:lnTo>
                    <a:pt x="117" y="7"/>
                  </a:lnTo>
                  <a:lnTo>
                    <a:pt x="123" y="10"/>
                  </a:lnTo>
                  <a:lnTo>
                    <a:pt x="129" y="14"/>
                  </a:lnTo>
                  <a:lnTo>
                    <a:pt x="133" y="18"/>
                  </a:lnTo>
                  <a:lnTo>
                    <a:pt x="137" y="23"/>
                  </a:lnTo>
                  <a:lnTo>
                    <a:pt x="141" y="29"/>
                  </a:lnTo>
                  <a:lnTo>
                    <a:pt x="144" y="35"/>
                  </a:lnTo>
                  <a:lnTo>
                    <a:pt x="146" y="42"/>
                  </a:lnTo>
                  <a:lnTo>
                    <a:pt x="148" y="49"/>
                  </a:lnTo>
                  <a:lnTo>
                    <a:pt x="149" y="57"/>
                  </a:lnTo>
                  <a:lnTo>
                    <a:pt x="150" y="73"/>
                  </a:lnTo>
                  <a:lnTo>
                    <a:pt x="105" y="73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7810500" y="4805363"/>
              <a:ext cx="82550" cy="123825"/>
            </a:xfrm>
            <a:custGeom>
              <a:avLst/>
              <a:gdLst>
                <a:gd name="T0" fmla="*/ 86 w 157"/>
                <a:gd name="T1" fmla="*/ 0 h 232"/>
                <a:gd name="T2" fmla="*/ 99 w 157"/>
                <a:gd name="T3" fmla="*/ 1 h 232"/>
                <a:gd name="T4" fmla="*/ 123 w 157"/>
                <a:gd name="T5" fmla="*/ 9 h 232"/>
                <a:gd name="T6" fmla="*/ 131 w 157"/>
                <a:gd name="T7" fmla="*/ 15 h 232"/>
                <a:gd name="T8" fmla="*/ 138 w 157"/>
                <a:gd name="T9" fmla="*/ 23 h 232"/>
                <a:gd name="T10" fmla="*/ 143 w 157"/>
                <a:gd name="T11" fmla="*/ 33 h 232"/>
                <a:gd name="T12" fmla="*/ 147 w 157"/>
                <a:gd name="T13" fmla="*/ 46 h 232"/>
                <a:gd name="T14" fmla="*/ 148 w 157"/>
                <a:gd name="T15" fmla="*/ 60 h 232"/>
                <a:gd name="T16" fmla="*/ 145 w 157"/>
                <a:gd name="T17" fmla="*/ 81 h 232"/>
                <a:gd name="T18" fmla="*/ 138 w 157"/>
                <a:gd name="T19" fmla="*/ 98 h 232"/>
                <a:gd name="T20" fmla="*/ 126 w 157"/>
                <a:gd name="T21" fmla="*/ 110 h 232"/>
                <a:gd name="T22" fmla="*/ 108 w 157"/>
                <a:gd name="T23" fmla="*/ 118 h 232"/>
                <a:gd name="T24" fmla="*/ 108 w 157"/>
                <a:gd name="T25" fmla="*/ 118 h 232"/>
                <a:gd name="T26" fmla="*/ 128 w 157"/>
                <a:gd name="T27" fmla="*/ 124 h 232"/>
                <a:gd name="T28" fmla="*/ 135 w 157"/>
                <a:gd name="T29" fmla="*/ 129 h 232"/>
                <a:gd name="T30" fmla="*/ 139 w 157"/>
                <a:gd name="T31" fmla="*/ 137 h 232"/>
                <a:gd name="T32" fmla="*/ 145 w 157"/>
                <a:gd name="T33" fmla="*/ 157 h 232"/>
                <a:gd name="T34" fmla="*/ 146 w 157"/>
                <a:gd name="T35" fmla="*/ 188 h 232"/>
                <a:gd name="T36" fmla="*/ 147 w 157"/>
                <a:gd name="T37" fmla="*/ 205 h 232"/>
                <a:gd name="T38" fmla="*/ 150 w 157"/>
                <a:gd name="T39" fmla="*/ 221 h 232"/>
                <a:gd name="T40" fmla="*/ 154 w 157"/>
                <a:gd name="T41" fmla="*/ 228 h 232"/>
                <a:gd name="T42" fmla="*/ 157 w 157"/>
                <a:gd name="T43" fmla="*/ 232 h 232"/>
                <a:gd name="T44" fmla="*/ 106 w 157"/>
                <a:gd name="T45" fmla="*/ 232 h 232"/>
                <a:gd name="T46" fmla="*/ 101 w 157"/>
                <a:gd name="T47" fmla="*/ 221 h 232"/>
                <a:gd name="T48" fmla="*/ 100 w 157"/>
                <a:gd name="T49" fmla="*/ 208 h 232"/>
                <a:gd name="T50" fmla="*/ 99 w 157"/>
                <a:gd name="T51" fmla="*/ 163 h 232"/>
                <a:gd name="T52" fmla="*/ 97 w 157"/>
                <a:gd name="T53" fmla="*/ 151 h 232"/>
                <a:gd name="T54" fmla="*/ 92 w 157"/>
                <a:gd name="T55" fmla="*/ 142 h 232"/>
                <a:gd name="T56" fmla="*/ 83 w 157"/>
                <a:gd name="T57" fmla="*/ 136 h 232"/>
                <a:gd name="T58" fmla="*/ 71 w 157"/>
                <a:gd name="T59" fmla="*/ 134 h 232"/>
                <a:gd name="T60" fmla="*/ 47 w 157"/>
                <a:gd name="T61" fmla="*/ 232 h 232"/>
                <a:gd name="T62" fmla="*/ 0 w 157"/>
                <a:gd name="T63" fmla="*/ 0 h 232"/>
                <a:gd name="T64" fmla="*/ 66 w 157"/>
                <a:gd name="T65" fmla="*/ 101 h 232"/>
                <a:gd name="T66" fmla="*/ 74 w 157"/>
                <a:gd name="T67" fmla="*/ 101 h 232"/>
                <a:gd name="T68" fmla="*/ 87 w 157"/>
                <a:gd name="T69" fmla="*/ 97 h 232"/>
                <a:gd name="T70" fmla="*/ 95 w 157"/>
                <a:gd name="T71" fmla="*/ 89 h 232"/>
                <a:gd name="T72" fmla="*/ 100 w 157"/>
                <a:gd name="T73" fmla="*/ 75 h 232"/>
                <a:gd name="T74" fmla="*/ 100 w 157"/>
                <a:gd name="T75" fmla="*/ 67 h 232"/>
                <a:gd name="T76" fmla="*/ 98 w 157"/>
                <a:gd name="T77" fmla="*/ 53 h 232"/>
                <a:gd name="T78" fmla="*/ 92 w 157"/>
                <a:gd name="T79" fmla="*/ 43 h 232"/>
                <a:gd name="T80" fmla="*/ 82 w 157"/>
                <a:gd name="T81" fmla="*/ 37 h 232"/>
                <a:gd name="T82" fmla="*/ 68 w 157"/>
                <a:gd name="T83" fmla="*/ 34 h 232"/>
                <a:gd name="T84" fmla="*/ 47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6" y="0"/>
                  </a:lnTo>
                  <a:lnTo>
                    <a:pt x="86" y="0"/>
                  </a:lnTo>
                  <a:lnTo>
                    <a:pt x="99" y="1"/>
                  </a:lnTo>
                  <a:lnTo>
                    <a:pt x="112" y="4"/>
                  </a:lnTo>
                  <a:lnTo>
                    <a:pt x="123" y="9"/>
                  </a:lnTo>
                  <a:lnTo>
                    <a:pt x="127" y="12"/>
                  </a:lnTo>
                  <a:lnTo>
                    <a:pt x="131" y="15"/>
                  </a:lnTo>
                  <a:lnTo>
                    <a:pt x="135" y="19"/>
                  </a:lnTo>
                  <a:lnTo>
                    <a:pt x="138" y="23"/>
                  </a:lnTo>
                  <a:lnTo>
                    <a:pt x="141" y="28"/>
                  </a:lnTo>
                  <a:lnTo>
                    <a:pt x="143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47" y="71"/>
                  </a:lnTo>
                  <a:lnTo>
                    <a:pt x="145" y="81"/>
                  </a:lnTo>
                  <a:lnTo>
                    <a:pt x="142" y="90"/>
                  </a:lnTo>
                  <a:lnTo>
                    <a:pt x="138" y="98"/>
                  </a:lnTo>
                  <a:lnTo>
                    <a:pt x="133" y="104"/>
                  </a:lnTo>
                  <a:lnTo>
                    <a:pt x="126" y="110"/>
                  </a:lnTo>
                  <a:lnTo>
                    <a:pt x="119" y="114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20" y="120"/>
                  </a:lnTo>
                  <a:lnTo>
                    <a:pt x="128" y="124"/>
                  </a:lnTo>
                  <a:lnTo>
                    <a:pt x="132" y="126"/>
                  </a:lnTo>
                  <a:lnTo>
                    <a:pt x="135" y="129"/>
                  </a:lnTo>
                  <a:lnTo>
                    <a:pt x="137" y="133"/>
                  </a:lnTo>
                  <a:lnTo>
                    <a:pt x="139" y="137"/>
                  </a:lnTo>
                  <a:lnTo>
                    <a:pt x="143" y="146"/>
                  </a:lnTo>
                  <a:lnTo>
                    <a:pt x="145" y="157"/>
                  </a:lnTo>
                  <a:lnTo>
                    <a:pt x="146" y="171"/>
                  </a:lnTo>
                  <a:lnTo>
                    <a:pt x="146" y="188"/>
                  </a:lnTo>
                  <a:lnTo>
                    <a:pt x="146" y="188"/>
                  </a:lnTo>
                  <a:lnTo>
                    <a:pt x="147" y="205"/>
                  </a:lnTo>
                  <a:lnTo>
                    <a:pt x="148" y="217"/>
                  </a:lnTo>
                  <a:lnTo>
                    <a:pt x="150" y="221"/>
                  </a:lnTo>
                  <a:lnTo>
                    <a:pt x="151" y="225"/>
                  </a:lnTo>
                  <a:lnTo>
                    <a:pt x="154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6" y="232"/>
                  </a:lnTo>
                  <a:lnTo>
                    <a:pt x="106" y="232"/>
                  </a:lnTo>
                  <a:lnTo>
                    <a:pt x="103" y="227"/>
                  </a:lnTo>
                  <a:lnTo>
                    <a:pt x="101" y="221"/>
                  </a:lnTo>
                  <a:lnTo>
                    <a:pt x="100" y="215"/>
                  </a:lnTo>
                  <a:lnTo>
                    <a:pt x="100" y="208"/>
                  </a:lnTo>
                  <a:lnTo>
                    <a:pt x="99" y="163"/>
                  </a:lnTo>
                  <a:lnTo>
                    <a:pt x="99" y="163"/>
                  </a:lnTo>
                  <a:lnTo>
                    <a:pt x="98" y="157"/>
                  </a:lnTo>
                  <a:lnTo>
                    <a:pt x="97" y="151"/>
                  </a:lnTo>
                  <a:lnTo>
                    <a:pt x="95" y="146"/>
                  </a:lnTo>
                  <a:lnTo>
                    <a:pt x="92" y="142"/>
                  </a:lnTo>
                  <a:lnTo>
                    <a:pt x="88" y="139"/>
                  </a:lnTo>
                  <a:lnTo>
                    <a:pt x="83" y="136"/>
                  </a:lnTo>
                  <a:lnTo>
                    <a:pt x="78" y="135"/>
                  </a:lnTo>
                  <a:lnTo>
                    <a:pt x="71" y="134"/>
                  </a:lnTo>
                  <a:lnTo>
                    <a:pt x="47" y="134"/>
                  </a:lnTo>
                  <a:lnTo>
                    <a:pt x="47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7" y="101"/>
                  </a:moveTo>
                  <a:lnTo>
                    <a:pt x="66" y="101"/>
                  </a:lnTo>
                  <a:lnTo>
                    <a:pt x="66" y="101"/>
                  </a:lnTo>
                  <a:lnTo>
                    <a:pt x="74" y="101"/>
                  </a:lnTo>
                  <a:lnTo>
                    <a:pt x="81" y="99"/>
                  </a:lnTo>
                  <a:lnTo>
                    <a:pt x="87" y="97"/>
                  </a:lnTo>
                  <a:lnTo>
                    <a:pt x="91" y="93"/>
                  </a:lnTo>
                  <a:lnTo>
                    <a:pt x="95" y="89"/>
                  </a:lnTo>
                  <a:lnTo>
                    <a:pt x="98" y="83"/>
                  </a:lnTo>
                  <a:lnTo>
                    <a:pt x="100" y="75"/>
                  </a:lnTo>
                  <a:lnTo>
                    <a:pt x="100" y="67"/>
                  </a:lnTo>
                  <a:lnTo>
                    <a:pt x="100" y="67"/>
                  </a:lnTo>
                  <a:lnTo>
                    <a:pt x="100" y="59"/>
                  </a:lnTo>
                  <a:lnTo>
                    <a:pt x="98" y="53"/>
                  </a:lnTo>
                  <a:lnTo>
                    <a:pt x="96" y="48"/>
                  </a:lnTo>
                  <a:lnTo>
                    <a:pt x="92" y="43"/>
                  </a:lnTo>
                  <a:lnTo>
                    <a:pt x="88" y="40"/>
                  </a:lnTo>
                  <a:lnTo>
                    <a:pt x="82" y="37"/>
                  </a:lnTo>
                  <a:lnTo>
                    <a:pt x="76" y="35"/>
                  </a:lnTo>
                  <a:lnTo>
                    <a:pt x="68" y="34"/>
                  </a:lnTo>
                  <a:lnTo>
                    <a:pt x="47" y="34"/>
                  </a:lnTo>
                  <a:lnTo>
                    <a:pt x="47" y="101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7904163" y="4803775"/>
              <a:ext cx="84138" cy="127000"/>
            </a:xfrm>
            <a:custGeom>
              <a:avLst/>
              <a:gdLst>
                <a:gd name="T0" fmla="*/ 79 w 158"/>
                <a:gd name="T1" fmla="*/ 0 h 240"/>
                <a:gd name="T2" fmla="*/ 102 w 158"/>
                <a:gd name="T3" fmla="*/ 2 h 240"/>
                <a:gd name="T4" fmla="*/ 122 w 158"/>
                <a:gd name="T5" fmla="*/ 8 h 240"/>
                <a:gd name="T6" fmla="*/ 135 w 158"/>
                <a:gd name="T7" fmla="*/ 19 h 240"/>
                <a:gd name="T8" fmla="*/ 145 w 158"/>
                <a:gd name="T9" fmla="*/ 33 h 240"/>
                <a:gd name="T10" fmla="*/ 152 w 158"/>
                <a:gd name="T11" fmla="*/ 51 h 240"/>
                <a:gd name="T12" fmla="*/ 156 w 158"/>
                <a:gd name="T13" fmla="*/ 72 h 240"/>
                <a:gd name="T14" fmla="*/ 158 w 158"/>
                <a:gd name="T15" fmla="*/ 121 h 240"/>
                <a:gd name="T16" fmla="*/ 158 w 158"/>
                <a:gd name="T17" fmla="*/ 146 h 240"/>
                <a:gd name="T18" fmla="*/ 154 w 158"/>
                <a:gd name="T19" fmla="*/ 179 h 240"/>
                <a:gd name="T20" fmla="*/ 149 w 158"/>
                <a:gd name="T21" fmla="*/ 198 h 240"/>
                <a:gd name="T22" fmla="*/ 141 w 158"/>
                <a:gd name="T23" fmla="*/ 215 h 240"/>
                <a:gd name="T24" fmla="*/ 129 w 158"/>
                <a:gd name="T25" fmla="*/ 227 h 240"/>
                <a:gd name="T26" fmla="*/ 113 w 158"/>
                <a:gd name="T27" fmla="*/ 235 h 240"/>
                <a:gd name="T28" fmla="*/ 92 w 158"/>
                <a:gd name="T29" fmla="*/ 240 h 240"/>
                <a:gd name="T30" fmla="*/ 79 w 158"/>
                <a:gd name="T31" fmla="*/ 240 h 240"/>
                <a:gd name="T32" fmla="*/ 56 w 158"/>
                <a:gd name="T33" fmla="*/ 238 h 240"/>
                <a:gd name="T34" fmla="*/ 38 w 158"/>
                <a:gd name="T35" fmla="*/ 232 h 240"/>
                <a:gd name="T36" fmla="*/ 24 w 158"/>
                <a:gd name="T37" fmla="*/ 221 h 240"/>
                <a:gd name="T38" fmla="*/ 13 w 158"/>
                <a:gd name="T39" fmla="*/ 207 h 240"/>
                <a:gd name="T40" fmla="*/ 7 w 158"/>
                <a:gd name="T41" fmla="*/ 189 h 240"/>
                <a:gd name="T42" fmla="*/ 3 w 158"/>
                <a:gd name="T43" fmla="*/ 168 h 240"/>
                <a:gd name="T44" fmla="*/ 0 w 158"/>
                <a:gd name="T45" fmla="*/ 121 h 240"/>
                <a:gd name="T46" fmla="*/ 1 w 158"/>
                <a:gd name="T47" fmla="*/ 94 h 240"/>
                <a:gd name="T48" fmla="*/ 5 w 158"/>
                <a:gd name="T49" fmla="*/ 61 h 240"/>
                <a:gd name="T50" fmla="*/ 10 w 158"/>
                <a:gd name="T51" fmla="*/ 42 h 240"/>
                <a:gd name="T52" fmla="*/ 18 w 158"/>
                <a:gd name="T53" fmla="*/ 26 h 240"/>
                <a:gd name="T54" fmla="*/ 31 w 158"/>
                <a:gd name="T55" fmla="*/ 13 h 240"/>
                <a:gd name="T56" fmla="*/ 46 w 158"/>
                <a:gd name="T57" fmla="*/ 5 h 240"/>
                <a:gd name="T58" fmla="*/ 67 w 158"/>
                <a:gd name="T59" fmla="*/ 0 h 240"/>
                <a:gd name="T60" fmla="*/ 79 w 158"/>
                <a:gd name="T61" fmla="*/ 0 h 240"/>
                <a:gd name="T62" fmla="*/ 79 w 158"/>
                <a:gd name="T63" fmla="*/ 206 h 240"/>
                <a:gd name="T64" fmla="*/ 88 w 158"/>
                <a:gd name="T65" fmla="*/ 205 h 240"/>
                <a:gd name="T66" fmla="*/ 96 w 158"/>
                <a:gd name="T67" fmla="*/ 202 h 240"/>
                <a:gd name="T68" fmla="*/ 101 w 158"/>
                <a:gd name="T69" fmla="*/ 195 h 240"/>
                <a:gd name="T70" fmla="*/ 106 w 158"/>
                <a:gd name="T71" fmla="*/ 186 h 240"/>
                <a:gd name="T72" fmla="*/ 111 w 158"/>
                <a:gd name="T73" fmla="*/ 160 h 240"/>
                <a:gd name="T74" fmla="*/ 112 w 158"/>
                <a:gd name="T75" fmla="*/ 121 h 240"/>
                <a:gd name="T76" fmla="*/ 112 w 158"/>
                <a:gd name="T77" fmla="*/ 98 h 240"/>
                <a:gd name="T78" fmla="*/ 109 w 158"/>
                <a:gd name="T79" fmla="*/ 66 h 240"/>
                <a:gd name="T80" fmla="*/ 103 w 158"/>
                <a:gd name="T81" fmla="*/ 49 h 240"/>
                <a:gd name="T82" fmla="*/ 99 w 158"/>
                <a:gd name="T83" fmla="*/ 42 h 240"/>
                <a:gd name="T84" fmla="*/ 92 w 158"/>
                <a:gd name="T85" fmla="*/ 36 h 240"/>
                <a:gd name="T86" fmla="*/ 84 w 158"/>
                <a:gd name="T87" fmla="*/ 34 h 240"/>
                <a:gd name="T88" fmla="*/ 79 w 158"/>
                <a:gd name="T89" fmla="*/ 34 h 240"/>
                <a:gd name="T90" fmla="*/ 70 w 158"/>
                <a:gd name="T91" fmla="*/ 35 h 240"/>
                <a:gd name="T92" fmla="*/ 63 w 158"/>
                <a:gd name="T93" fmla="*/ 38 h 240"/>
                <a:gd name="T94" fmla="*/ 57 w 158"/>
                <a:gd name="T95" fmla="*/ 45 h 240"/>
                <a:gd name="T96" fmla="*/ 53 w 158"/>
                <a:gd name="T97" fmla="*/ 54 h 240"/>
                <a:gd name="T98" fmla="*/ 49 w 158"/>
                <a:gd name="T99" fmla="*/ 80 h 240"/>
                <a:gd name="T100" fmla="*/ 48 w 158"/>
                <a:gd name="T101" fmla="*/ 121 h 240"/>
                <a:gd name="T102" fmla="*/ 48 w 158"/>
                <a:gd name="T103" fmla="*/ 142 h 240"/>
                <a:gd name="T104" fmla="*/ 50 w 158"/>
                <a:gd name="T105" fmla="*/ 174 h 240"/>
                <a:gd name="T106" fmla="*/ 55 w 158"/>
                <a:gd name="T107" fmla="*/ 191 h 240"/>
                <a:gd name="T108" fmla="*/ 60 w 158"/>
                <a:gd name="T109" fmla="*/ 198 h 240"/>
                <a:gd name="T110" fmla="*/ 66 w 158"/>
                <a:gd name="T111" fmla="*/ 204 h 240"/>
                <a:gd name="T112" fmla="*/ 74 w 158"/>
                <a:gd name="T113" fmla="*/ 206 h 240"/>
                <a:gd name="T114" fmla="*/ 79 w 158"/>
                <a:gd name="T115" fmla="*/ 20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" h="240">
                  <a:moveTo>
                    <a:pt x="79" y="0"/>
                  </a:moveTo>
                  <a:lnTo>
                    <a:pt x="79" y="0"/>
                  </a:lnTo>
                  <a:lnTo>
                    <a:pt x="92" y="0"/>
                  </a:lnTo>
                  <a:lnTo>
                    <a:pt x="102" y="2"/>
                  </a:lnTo>
                  <a:lnTo>
                    <a:pt x="113" y="5"/>
                  </a:lnTo>
                  <a:lnTo>
                    <a:pt x="122" y="8"/>
                  </a:lnTo>
                  <a:lnTo>
                    <a:pt x="129" y="13"/>
                  </a:lnTo>
                  <a:lnTo>
                    <a:pt x="135" y="19"/>
                  </a:lnTo>
                  <a:lnTo>
                    <a:pt x="141" y="26"/>
                  </a:lnTo>
                  <a:lnTo>
                    <a:pt x="145" y="33"/>
                  </a:lnTo>
                  <a:lnTo>
                    <a:pt x="149" y="42"/>
                  </a:lnTo>
                  <a:lnTo>
                    <a:pt x="152" y="51"/>
                  </a:lnTo>
                  <a:lnTo>
                    <a:pt x="154" y="61"/>
                  </a:lnTo>
                  <a:lnTo>
                    <a:pt x="156" y="72"/>
                  </a:lnTo>
                  <a:lnTo>
                    <a:pt x="158" y="94"/>
                  </a:lnTo>
                  <a:lnTo>
                    <a:pt x="158" y="121"/>
                  </a:lnTo>
                  <a:lnTo>
                    <a:pt x="158" y="121"/>
                  </a:lnTo>
                  <a:lnTo>
                    <a:pt x="158" y="146"/>
                  </a:lnTo>
                  <a:lnTo>
                    <a:pt x="156" y="168"/>
                  </a:lnTo>
                  <a:lnTo>
                    <a:pt x="154" y="179"/>
                  </a:lnTo>
                  <a:lnTo>
                    <a:pt x="152" y="189"/>
                  </a:lnTo>
                  <a:lnTo>
                    <a:pt x="149" y="198"/>
                  </a:lnTo>
                  <a:lnTo>
                    <a:pt x="145" y="207"/>
                  </a:lnTo>
                  <a:lnTo>
                    <a:pt x="141" y="215"/>
                  </a:lnTo>
                  <a:lnTo>
                    <a:pt x="135" y="221"/>
                  </a:lnTo>
                  <a:lnTo>
                    <a:pt x="129" y="227"/>
                  </a:lnTo>
                  <a:lnTo>
                    <a:pt x="122" y="232"/>
                  </a:lnTo>
                  <a:lnTo>
                    <a:pt x="113" y="235"/>
                  </a:lnTo>
                  <a:lnTo>
                    <a:pt x="102" y="238"/>
                  </a:lnTo>
                  <a:lnTo>
                    <a:pt x="92" y="240"/>
                  </a:lnTo>
                  <a:lnTo>
                    <a:pt x="79" y="240"/>
                  </a:lnTo>
                  <a:lnTo>
                    <a:pt x="79" y="240"/>
                  </a:lnTo>
                  <a:lnTo>
                    <a:pt x="67" y="240"/>
                  </a:lnTo>
                  <a:lnTo>
                    <a:pt x="56" y="238"/>
                  </a:lnTo>
                  <a:lnTo>
                    <a:pt x="46" y="235"/>
                  </a:lnTo>
                  <a:lnTo>
                    <a:pt x="38" y="232"/>
                  </a:lnTo>
                  <a:lnTo>
                    <a:pt x="31" y="227"/>
                  </a:lnTo>
                  <a:lnTo>
                    <a:pt x="24" y="221"/>
                  </a:lnTo>
                  <a:lnTo>
                    <a:pt x="18" y="215"/>
                  </a:lnTo>
                  <a:lnTo>
                    <a:pt x="13" y="207"/>
                  </a:lnTo>
                  <a:lnTo>
                    <a:pt x="10" y="198"/>
                  </a:lnTo>
                  <a:lnTo>
                    <a:pt x="7" y="189"/>
                  </a:lnTo>
                  <a:lnTo>
                    <a:pt x="5" y="179"/>
                  </a:lnTo>
                  <a:lnTo>
                    <a:pt x="3" y="168"/>
                  </a:lnTo>
                  <a:lnTo>
                    <a:pt x="1" y="146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" y="94"/>
                  </a:lnTo>
                  <a:lnTo>
                    <a:pt x="3" y="72"/>
                  </a:lnTo>
                  <a:lnTo>
                    <a:pt x="5" y="61"/>
                  </a:lnTo>
                  <a:lnTo>
                    <a:pt x="7" y="51"/>
                  </a:lnTo>
                  <a:lnTo>
                    <a:pt x="10" y="42"/>
                  </a:lnTo>
                  <a:lnTo>
                    <a:pt x="13" y="33"/>
                  </a:lnTo>
                  <a:lnTo>
                    <a:pt x="18" y="26"/>
                  </a:lnTo>
                  <a:lnTo>
                    <a:pt x="24" y="19"/>
                  </a:lnTo>
                  <a:lnTo>
                    <a:pt x="31" y="13"/>
                  </a:lnTo>
                  <a:lnTo>
                    <a:pt x="38" y="8"/>
                  </a:lnTo>
                  <a:lnTo>
                    <a:pt x="46" y="5"/>
                  </a:lnTo>
                  <a:lnTo>
                    <a:pt x="56" y="2"/>
                  </a:lnTo>
                  <a:lnTo>
                    <a:pt x="67" y="0"/>
                  </a:lnTo>
                  <a:lnTo>
                    <a:pt x="79" y="0"/>
                  </a:lnTo>
                  <a:lnTo>
                    <a:pt x="79" y="0"/>
                  </a:lnTo>
                  <a:close/>
                  <a:moveTo>
                    <a:pt x="79" y="206"/>
                  </a:moveTo>
                  <a:lnTo>
                    <a:pt x="79" y="206"/>
                  </a:lnTo>
                  <a:lnTo>
                    <a:pt x="84" y="206"/>
                  </a:lnTo>
                  <a:lnTo>
                    <a:pt x="88" y="205"/>
                  </a:lnTo>
                  <a:lnTo>
                    <a:pt x="92" y="204"/>
                  </a:lnTo>
                  <a:lnTo>
                    <a:pt x="96" y="202"/>
                  </a:lnTo>
                  <a:lnTo>
                    <a:pt x="99" y="198"/>
                  </a:lnTo>
                  <a:lnTo>
                    <a:pt x="101" y="195"/>
                  </a:lnTo>
                  <a:lnTo>
                    <a:pt x="103" y="191"/>
                  </a:lnTo>
                  <a:lnTo>
                    <a:pt x="106" y="186"/>
                  </a:lnTo>
                  <a:lnTo>
                    <a:pt x="109" y="174"/>
                  </a:lnTo>
                  <a:lnTo>
                    <a:pt x="111" y="160"/>
                  </a:lnTo>
                  <a:lnTo>
                    <a:pt x="112" y="142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98"/>
                  </a:lnTo>
                  <a:lnTo>
                    <a:pt x="111" y="80"/>
                  </a:lnTo>
                  <a:lnTo>
                    <a:pt x="109" y="66"/>
                  </a:lnTo>
                  <a:lnTo>
                    <a:pt x="106" y="54"/>
                  </a:lnTo>
                  <a:lnTo>
                    <a:pt x="103" y="49"/>
                  </a:lnTo>
                  <a:lnTo>
                    <a:pt x="101" y="45"/>
                  </a:lnTo>
                  <a:lnTo>
                    <a:pt x="99" y="42"/>
                  </a:lnTo>
                  <a:lnTo>
                    <a:pt x="96" y="38"/>
                  </a:lnTo>
                  <a:lnTo>
                    <a:pt x="92" y="36"/>
                  </a:lnTo>
                  <a:lnTo>
                    <a:pt x="88" y="35"/>
                  </a:lnTo>
                  <a:lnTo>
                    <a:pt x="84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4" y="34"/>
                  </a:lnTo>
                  <a:lnTo>
                    <a:pt x="70" y="35"/>
                  </a:lnTo>
                  <a:lnTo>
                    <a:pt x="66" y="36"/>
                  </a:lnTo>
                  <a:lnTo>
                    <a:pt x="63" y="38"/>
                  </a:lnTo>
                  <a:lnTo>
                    <a:pt x="60" y="42"/>
                  </a:lnTo>
                  <a:lnTo>
                    <a:pt x="57" y="45"/>
                  </a:lnTo>
                  <a:lnTo>
                    <a:pt x="55" y="49"/>
                  </a:lnTo>
                  <a:lnTo>
                    <a:pt x="53" y="54"/>
                  </a:lnTo>
                  <a:lnTo>
                    <a:pt x="50" y="66"/>
                  </a:lnTo>
                  <a:lnTo>
                    <a:pt x="49" y="80"/>
                  </a:lnTo>
                  <a:lnTo>
                    <a:pt x="48" y="98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48" y="142"/>
                  </a:lnTo>
                  <a:lnTo>
                    <a:pt x="49" y="160"/>
                  </a:lnTo>
                  <a:lnTo>
                    <a:pt x="50" y="174"/>
                  </a:lnTo>
                  <a:lnTo>
                    <a:pt x="53" y="186"/>
                  </a:lnTo>
                  <a:lnTo>
                    <a:pt x="55" y="191"/>
                  </a:lnTo>
                  <a:lnTo>
                    <a:pt x="57" y="195"/>
                  </a:lnTo>
                  <a:lnTo>
                    <a:pt x="60" y="198"/>
                  </a:lnTo>
                  <a:lnTo>
                    <a:pt x="63" y="202"/>
                  </a:lnTo>
                  <a:lnTo>
                    <a:pt x="66" y="204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8002588" y="4805363"/>
              <a:ext cx="77788" cy="125413"/>
            </a:xfrm>
            <a:custGeom>
              <a:avLst/>
              <a:gdLst>
                <a:gd name="T0" fmla="*/ 47 w 148"/>
                <a:gd name="T1" fmla="*/ 0 h 236"/>
                <a:gd name="T2" fmla="*/ 47 w 148"/>
                <a:gd name="T3" fmla="*/ 162 h 236"/>
                <a:gd name="T4" fmla="*/ 47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50 w 148"/>
                <a:gd name="T11" fmla="*/ 184 h 236"/>
                <a:gd name="T12" fmla="*/ 52 w 148"/>
                <a:gd name="T13" fmla="*/ 190 h 236"/>
                <a:gd name="T14" fmla="*/ 56 w 148"/>
                <a:gd name="T15" fmla="*/ 195 h 236"/>
                <a:gd name="T16" fmla="*/ 60 w 148"/>
                <a:gd name="T17" fmla="*/ 199 h 236"/>
                <a:gd name="T18" fmla="*/ 66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1 w 148"/>
                <a:gd name="T25" fmla="*/ 202 h 236"/>
                <a:gd name="T26" fmla="*/ 87 w 148"/>
                <a:gd name="T27" fmla="*/ 199 h 236"/>
                <a:gd name="T28" fmla="*/ 93 w 148"/>
                <a:gd name="T29" fmla="*/ 195 h 236"/>
                <a:gd name="T30" fmla="*/ 96 w 148"/>
                <a:gd name="T31" fmla="*/ 190 h 236"/>
                <a:gd name="T32" fmla="*/ 99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2 w 148"/>
                <a:gd name="T39" fmla="*/ 162 h 236"/>
                <a:gd name="T40" fmla="*/ 102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7 w 148"/>
                <a:gd name="T49" fmla="*/ 172 h 236"/>
                <a:gd name="T50" fmla="*/ 146 w 148"/>
                <a:gd name="T51" fmla="*/ 182 h 236"/>
                <a:gd name="T52" fmla="*/ 144 w 148"/>
                <a:gd name="T53" fmla="*/ 190 h 236"/>
                <a:gd name="T54" fmla="*/ 142 w 148"/>
                <a:gd name="T55" fmla="*/ 199 h 236"/>
                <a:gd name="T56" fmla="*/ 138 w 148"/>
                <a:gd name="T57" fmla="*/ 206 h 236"/>
                <a:gd name="T58" fmla="*/ 135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9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60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7 w 148"/>
                <a:gd name="T97" fmla="*/ 200 h 236"/>
                <a:gd name="T98" fmla="*/ 4 w 148"/>
                <a:gd name="T99" fmla="*/ 191 h 236"/>
                <a:gd name="T100" fmla="*/ 1 w 148"/>
                <a:gd name="T101" fmla="*/ 182 h 236"/>
                <a:gd name="T102" fmla="*/ 0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7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7" y="0"/>
                  </a:moveTo>
                  <a:lnTo>
                    <a:pt x="47" y="162"/>
                  </a:lnTo>
                  <a:lnTo>
                    <a:pt x="47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50" y="184"/>
                  </a:lnTo>
                  <a:lnTo>
                    <a:pt x="52" y="190"/>
                  </a:lnTo>
                  <a:lnTo>
                    <a:pt x="56" y="195"/>
                  </a:lnTo>
                  <a:lnTo>
                    <a:pt x="60" y="199"/>
                  </a:lnTo>
                  <a:lnTo>
                    <a:pt x="66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1" y="202"/>
                  </a:lnTo>
                  <a:lnTo>
                    <a:pt x="87" y="199"/>
                  </a:lnTo>
                  <a:lnTo>
                    <a:pt x="93" y="195"/>
                  </a:lnTo>
                  <a:lnTo>
                    <a:pt x="96" y="190"/>
                  </a:lnTo>
                  <a:lnTo>
                    <a:pt x="99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2" y="162"/>
                  </a:lnTo>
                  <a:lnTo>
                    <a:pt x="102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72"/>
                  </a:lnTo>
                  <a:lnTo>
                    <a:pt x="146" y="182"/>
                  </a:lnTo>
                  <a:lnTo>
                    <a:pt x="144" y="190"/>
                  </a:lnTo>
                  <a:lnTo>
                    <a:pt x="142" y="199"/>
                  </a:lnTo>
                  <a:lnTo>
                    <a:pt x="138" y="206"/>
                  </a:lnTo>
                  <a:lnTo>
                    <a:pt x="135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9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60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7" y="200"/>
                  </a:lnTo>
                  <a:lnTo>
                    <a:pt x="4" y="191"/>
                  </a:lnTo>
                  <a:lnTo>
                    <a:pt x="1" y="182"/>
                  </a:lnTo>
                  <a:lnTo>
                    <a:pt x="0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auto">
            <a:xfrm>
              <a:off x="8101013" y="4805363"/>
              <a:ext cx="76200" cy="123825"/>
            </a:xfrm>
            <a:custGeom>
              <a:avLst/>
              <a:gdLst>
                <a:gd name="T0" fmla="*/ 0 w 144"/>
                <a:gd name="T1" fmla="*/ 0 h 232"/>
                <a:gd name="T2" fmla="*/ 82 w 144"/>
                <a:gd name="T3" fmla="*/ 0 h 232"/>
                <a:gd name="T4" fmla="*/ 82 w 144"/>
                <a:gd name="T5" fmla="*/ 0 h 232"/>
                <a:gd name="T6" fmla="*/ 90 w 144"/>
                <a:gd name="T7" fmla="*/ 1 h 232"/>
                <a:gd name="T8" fmla="*/ 98 w 144"/>
                <a:gd name="T9" fmla="*/ 2 h 232"/>
                <a:gd name="T10" fmla="*/ 105 w 144"/>
                <a:gd name="T11" fmla="*/ 4 h 232"/>
                <a:gd name="T12" fmla="*/ 111 w 144"/>
                <a:gd name="T13" fmla="*/ 6 h 232"/>
                <a:gd name="T14" fmla="*/ 117 w 144"/>
                <a:gd name="T15" fmla="*/ 9 h 232"/>
                <a:gd name="T16" fmla="*/ 122 w 144"/>
                <a:gd name="T17" fmla="*/ 13 h 232"/>
                <a:gd name="T18" fmla="*/ 127 w 144"/>
                <a:gd name="T19" fmla="*/ 17 h 232"/>
                <a:gd name="T20" fmla="*/ 131 w 144"/>
                <a:gd name="T21" fmla="*/ 22 h 232"/>
                <a:gd name="T22" fmla="*/ 134 w 144"/>
                <a:gd name="T23" fmla="*/ 27 h 232"/>
                <a:gd name="T24" fmla="*/ 137 w 144"/>
                <a:gd name="T25" fmla="*/ 32 h 232"/>
                <a:gd name="T26" fmla="*/ 141 w 144"/>
                <a:gd name="T27" fmla="*/ 45 h 232"/>
                <a:gd name="T28" fmla="*/ 144 w 144"/>
                <a:gd name="T29" fmla="*/ 57 h 232"/>
                <a:gd name="T30" fmla="*/ 144 w 144"/>
                <a:gd name="T31" fmla="*/ 70 h 232"/>
                <a:gd name="T32" fmla="*/ 144 w 144"/>
                <a:gd name="T33" fmla="*/ 70 h 232"/>
                <a:gd name="T34" fmla="*/ 144 w 144"/>
                <a:gd name="T35" fmla="*/ 78 h 232"/>
                <a:gd name="T36" fmla="*/ 143 w 144"/>
                <a:gd name="T37" fmla="*/ 86 h 232"/>
                <a:gd name="T38" fmla="*/ 141 w 144"/>
                <a:gd name="T39" fmla="*/ 94 h 232"/>
                <a:gd name="T40" fmla="*/ 139 w 144"/>
                <a:gd name="T41" fmla="*/ 101 h 232"/>
                <a:gd name="T42" fmla="*/ 136 w 144"/>
                <a:gd name="T43" fmla="*/ 107 h 232"/>
                <a:gd name="T44" fmla="*/ 133 w 144"/>
                <a:gd name="T45" fmla="*/ 112 h 232"/>
                <a:gd name="T46" fmla="*/ 129 w 144"/>
                <a:gd name="T47" fmla="*/ 118 h 232"/>
                <a:gd name="T48" fmla="*/ 124 w 144"/>
                <a:gd name="T49" fmla="*/ 123 h 232"/>
                <a:gd name="T50" fmla="*/ 119 w 144"/>
                <a:gd name="T51" fmla="*/ 127 h 232"/>
                <a:gd name="T52" fmla="*/ 114 w 144"/>
                <a:gd name="T53" fmla="*/ 130 h 232"/>
                <a:gd name="T54" fmla="*/ 108 w 144"/>
                <a:gd name="T55" fmla="*/ 133 h 232"/>
                <a:gd name="T56" fmla="*/ 101 w 144"/>
                <a:gd name="T57" fmla="*/ 136 h 232"/>
                <a:gd name="T58" fmla="*/ 95 w 144"/>
                <a:gd name="T59" fmla="*/ 137 h 232"/>
                <a:gd name="T60" fmla="*/ 87 w 144"/>
                <a:gd name="T61" fmla="*/ 139 h 232"/>
                <a:gd name="T62" fmla="*/ 71 w 144"/>
                <a:gd name="T63" fmla="*/ 140 h 232"/>
                <a:gd name="T64" fmla="*/ 46 w 144"/>
                <a:gd name="T65" fmla="*/ 140 h 232"/>
                <a:gd name="T66" fmla="*/ 46 w 144"/>
                <a:gd name="T67" fmla="*/ 232 h 232"/>
                <a:gd name="T68" fmla="*/ 0 w 144"/>
                <a:gd name="T69" fmla="*/ 232 h 232"/>
                <a:gd name="T70" fmla="*/ 0 w 144"/>
                <a:gd name="T71" fmla="*/ 0 h 232"/>
                <a:gd name="T72" fmla="*/ 46 w 144"/>
                <a:gd name="T73" fmla="*/ 105 h 232"/>
                <a:gd name="T74" fmla="*/ 67 w 144"/>
                <a:gd name="T75" fmla="*/ 105 h 232"/>
                <a:gd name="T76" fmla="*/ 67 w 144"/>
                <a:gd name="T77" fmla="*/ 105 h 232"/>
                <a:gd name="T78" fmla="*/ 74 w 144"/>
                <a:gd name="T79" fmla="*/ 104 h 232"/>
                <a:gd name="T80" fmla="*/ 80 w 144"/>
                <a:gd name="T81" fmla="*/ 103 h 232"/>
                <a:gd name="T82" fmla="*/ 85 w 144"/>
                <a:gd name="T83" fmla="*/ 100 h 232"/>
                <a:gd name="T84" fmla="*/ 90 w 144"/>
                <a:gd name="T85" fmla="*/ 96 h 232"/>
                <a:gd name="T86" fmla="*/ 93 w 144"/>
                <a:gd name="T87" fmla="*/ 92 h 232"/>
                <a:gd name="T88" fmla="*/ 96 w 144"/>
                <a:gd name="T89" fmla="*/ 86 h 232"/>
                <a:gd name="T90" fmla="*/ 98 w 144"/>
                <a:gd name="T91" fmla="*/ 79 h 232"/>
                <a:gd name="T92" fmla="*/ 98 w 144"/>
                <a:gd name="T93" fmla="*/ 70 h 232"/>
                <a:gd name="T94" fmla="*/ 98 w 144"/>
                <a:gd name="T95" fmla="*/ 70 h 232"/>
                <a:gd name="T96" fmla="*/ 98 w 144"/>
                <a:gd name="T97" fmla="*/ 62 h 232"/>
                <a:gd name="T98" fmla="*/ 97 w 144"/>
                <a:gd name="T99" fmla="*/ 55 h 232"/>
                <a:gd name="T100" fmla="*/ 94 w 144"/>
                <a:gd name="T101" fmla="*/ 49 h 232"/>
                <a:gd name="T102" fmla="*/ 91 w 144"/>
                <a:gd name="T103" fmla="*/ 44 h 232"/>
                <a:gd name="T104" fmla="*/ 87 w 144"/>
                <a:gd name="T105" fmla="*/ 40 h 232"/>
                <a:gd name="T106" fmla="*/ 81 w 144"/>
                <a:gd name="T107" fmla="*/ 37 h 232"/>
                <a:gd name="T108" fmla="*/ 74 w 144"/>
                <a:gd name="T109" fmla="*/ 35 h 232"/>
                <a:gd name="T110" fmla="*/ 65 w 144"/>
                <a:gd name="T111" fmla="*/ 34 h 232"/>
                <a:gd name="T112" fmla="*/ 46 w 144"/>
                <a:gd name="T113" fmla="*/ 34 h 232"/>
                <a:gd name="T114" fmla="*/ 46 w 144"/>
                <a:gd name="T115" fmla="*/ 10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4" h="232">
                  <a:moveTo>
                    <a:pt x="0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90" y="1"/>
                  </a:lnTo>
                  <a:lnTo>
                    <a:pt x="98" y="2"/>
                  </a:lnTo>
                  <a:lnTo>
                    <a:pt x="105" y="4"/>
                  </a:lnTo>
                  <a:lnTo>
                    <a:pt x="111" y="6"/>
                  </a:lnTo>
                  <a:lnTo>
                    <a:pt x="117" y="9"/>
                  </a:lnTo>
                  <a:lnTo>
                    <a:pt x="122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4" y="27"/>
                  </a:lnTo>
                  <a:lnTo>
                    <a:pt x="137" y="32"/>
                  </a:lnTo>
                  <a:lnTo>
                    <a:pt x="141" y="45"/>
                  </a:lnTo>
                  <a:lnTo>
                    <a:pt x="144" y="57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4" y="78"/>
                  </a:lnTo>
                  <a:lnTo>
                    <a:pt x="143" y="86"/>
                  </a:lnTo>
                  <a:lnTo>
                    <a:pt x="141" y="94"/>
                  </a:lnTo>
                  <a:lnTo>
                    <a:pt x="139" y="101"/>
                  </a:lnTo>
                  <a:lnTo>
                    <a:pt x="136" y="107"/>
                  </a:lnTo>
                  <a:lnTo>
                    <a:pt x="133" y="112"/>
                  </a:lnTo>
                  <a:lnTo>
                    <a:pt x="129" y="118"/>
                  </a:lnTo>
                  <a:lnTo>
                    <a:pt x="124" y="123"/>
                  </a:lnTo>
                  <a:lnTo>
                    <a:pt x="119" y="127"/>
                  </a:lnTo>
                  <a:lnTo>
                    <a:pt x="114" y="130"/>
                  </a:lnTo>
                  <a:lnTo>
                    <a:pt x="108" y="133"/>
                  </a:lnTo>
                  <a:lnTo>
                    <a:pt x="101" y="136"/>
                  </a:lnTo>
                  <a:lnTo>
                    <a:pt x="95" y="137"/>
                  </a:lnTo>
                  <a:lnTo>
                    <a:pt x="87" y="139"/>
                  </a:lnTo>
                  <a:lnTo>
                    <a:pt x="71" y="140"/>
                  </a:lnTo>
                  <a:lnTo>
                    <a:pt x="46" y="140"/>
                  </a:lnTo>
                  <a:lnTo>
                    <a:pt x="46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6" y="105"/>
                  </a:moveTo>
                  <a:lnTo>
                    <a:pt x="67" y="105"/>
                  </a:lnTo>
                  <a:lnTo>
                    <a:pt x="67" y="105"/>
                  </a:lnTo>
                  <a:lnTo>
                    <a:pt x="74" y="104"/>
                  </a:lnTo>
                  <a:lnTo>
                    <a:pt x="80" y="103"/>
                  </a:lnTo>
                  <a:lnTo>
                    <a:pt x="85" y="100"/>
                  </a:lnTo>
                  <a:lnTo>
                    <a:pt x="90" y="96"/>
                  </a:lnTo>
                  <a:lnTo>
                    <a:pt x="93" y="92"/>
                  </a:lnTo>
                  <a:lnTo>
                    <a:pt x="96" y="86"/>
                  </a:lnTo>
                  <a:lnTo>
                    <a:pt x="98" y="79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62"/>
                  </a:lnTo>
                  <a:lnTo>
                    <a:pt x="97" y="55"/>
                  </a:lnTo>
                  <a:lnTo>
                    <a:pt x="94" y="49"/>
                  </a:lnTo>
                  <a:lnTo>
                    <a:pt x="91" y="44"/>
                  </a:lnTo>
                  <a:lnTo>
                    <a:pt x="87" y="40"/>
                  </a:lnTo>
                  <a:lnTo>
                    <a:pt x="81" y="37"/>
                  </a:lnTo>
                  <a:lnTo>
                    <a:pt x="74" y="35"/>
                  </a:lnTo>
                  <a:lnTo>
                    <a:pt x="65" y="34"/>
                  </a:lnTo>
                  <a:lnTo>
                    <a:pt x="46" y="34"/>
                  </a:lnTo>
                  <a:lnTo>
                    <a:pt x="46" y="105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8188325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 userDrawn="1"/>
          </p:nvSpPr>
          <p:spPr bwMode="auto">
            <a:xfrm>
              <a:off x="8315325" y="4805363"/>
              <a:ext cx="82550" cy="123825"/>
            </a:xfrm>
            <a:custGeom>
              <a:avLst/>
              <a:gdLst>
                <a:gd name="T0" fmla="*/ 87 w 157"/>
                <a:gd name="T1" fmla="*/ 0 h 232"/>
                <a:gd name="T2" fmla="*/ 101 w 157"/>
                <a:gd name="T3" fmla="*/ 1 h 232"/>
                <a:gd name="T4" fmla="*/ 124 w 157"/>
                <a:gd name="T5" fmla="*/ 9 h 232"/>
                <a:gd name="T6" fmla="*/ 132 w 157"/>
                <a:gd name="T7" fmla="*/ 15 h 232"/>
                <a:gd name="T8" fmla="*/ 139 w 157"/>
                <a:gd name="T9" fmla="*/ 23 h 232"/>
                <a:gd name="T10" fmla="*/ 144 w 157"/>
                <a:gd name="T11" fmla="*/ 33 h 232"/>
                <a:gd name="T12" fmla="*/ 147 w 157"/>
                <a:gd name="T13" fmla="*/ 46 h 232"/>
                <a:gd name="T14" fmla="*/ 149 w 157"/>
                <a:gd name="T15" fmla="*/ 60 h 232"/>
                <a:gd name="T16" fmla="*/ 146 w 157"/>
                <a:gd name="T17" fmla="*/ 81 h 232"/>
                <a:gd name="T18" fmla="*/ 139 w 157"/>
                <a:gd name="T19" fmla="*/ 98 h 232"/>
                <a:gd name="T20" fmla="*/ 127 w 157"/>
                <a:gd name="T21" fmla="*/ 110 h 232"/>
                <a:gd name="T22" fmla="*/ 110 w 157"/>
                <a:gd name="T23" fmla="*/ 118 h 232"/>
                <a:gd name="T24" fmla="*/ 110 w 157"/>
                <a:gd name="T25" fmla="*/ 118 h 232"/>
                <a:gd name="T26" fmla="*/ 129 w 157"/>
                <a:gd name="T27" fmla="*/ 124 h 232"/>
                <a:gd name="T28" fmla="*/ 136 w 157"/>
                <a:gd name="T29" fmla="*/ 129 h 232"/>
                <a:gd name="T30" fmla="*/ 140 w 157"/>
                <a:gd name="T31" fmla="*/ 137 h 232"/>
                <a:gd name="T32" fmla="*/ 146 w 157"/>
                <a:gd name="T33" fmla="*/ 157 h 232"/>
                <a:gd name="T34" fmla="*/ 147 w 157"/>
                <a:gd name="T35" fmla="*/ 188 h 232"/>
                <a:gd name="T36" fmla="*/ 148 w 157"/>
                <a:gd name="T37" fmla="*/ 205 h 232"/>
                <a:gd name="T38" fmla="*/ 151 w 157"/>
                <a:gd name="T39" fmla="*/ 221 h 232"/>
                <a:gd name="T40" fmla="*/ 155 w 157"/>
                <a:gd name="T41" fmla="*/ 228 h 232"/>
                <a:gd name="T42" fmla="*/ 157 w 157"/>
                <a:gd name="T43" fmla="*/ 232 h 232"/>
                <a:gd name="T44" fmla="*/ 108 w 157"/>
                <a:gd name="T45" fmla="*/ 232 h 232"/>
                <a:gd name="T46" fmla="*/ 103 w 157"/>
                <a:gd name="T47" fmla="*/ 221 h 232"/>
                <a:gd name="T48" fmla="*/ 102 w 157"/>
                <a:gd name="T49" fmla="*/ 208 h 232"/>
                <a:gd name="T50" fmla="*/ 100 w 157"/>
                <a:gd name="T51" fmla="*/ 163 h 232"/>
                <a:gd name="T52" fmla="*/ 99 w 157"/>
                <a:gd name="T53" fmla="*/ 151 h 232"/>
                <a:gd name="T54" fmla="*/ 94 w 157"/>
                <a:gd name="T55" fmla="*/ 142 h 232"/>
                <a:gd name="T56" fmla="*/ 84 w 157"/>
                <a:gd name="T57" fmla="*/ 136 h 232"/>
                <a:gd name="T58" fmla="*/ 72 w 157"/>
                <a:gd name="T59" fmla="*/ 134 h 232"/>
                <a:gd name="T60" fmla="*/ 48 w 157"/>
                <a:gd name="T61" fmla="*/ 232 h 232"/>
                <a:gd name="T62" fmla="*/ 0 w 157"/>
                <a:gd name="T63" fmla="*/ 0 h 232"/>
                <a:gd name="T64" fmla="*/ 67 w 157"/>
                <a:gd name="T65" fmla="*/ 101 h 232"/>
                <a:gd name="T66" fmla="*/ 75 w 157"/>
                <a:gd name="T67" fmla="*/ 101 h 232"/>
                <a:gd name="T68" fmla="*/ 87 w 157"/>
                <a:gd name="T69" fmla="*/ 97 h 232"/>
                <a:gd name="T70" fmla="*/ 97 w 157"/>
                <a:gd name="T71" fmla="*/ 89 h 232"/>
                <a:gd name="T72" fmla="*/ 102 w 157"/>
                <a:gd name="T73" fmla="*/ 75 h 232"/>
                <a:gd name="T74" fmla="*/ 102 w 157"/>
                <a:gd name="T75" fmla="*/ 67 h 232"/>
                <a:gd name="T76" fmla="*/ 100 w 157"/>
                <a:gd name="T77" fmla="*/ 53 h 232"/>
                <a:gd name="T78" fmla="*/ 94 w 157"/>
                <a:gd name="T79" fmla="*/ 43 h 232"/>
                <a:gd name="T80" fmla="*/ 83 w 157"/>
                <a:gd name="T81" fmla="*/ 37 h 232"/>
                <a:gd name="T82" fmla="*/ 69 w 157"/>
                <a:gd name="T83" fmla="*/ 34 h 232"/>
                <a:gd name="T84" fmla="*/ 48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7" y="0"/>
                  </a:lnTo>
                  <a:lnTo>
                    <a:pt x="87" y="0"/>
                  </a:lnTo>
                  <a:lnTo>
                    <a:pt x="101" y="1"/>
                  </a:lnTo>
                  <a:lnTo>
                    <a:pt x="113" y="4"/>
                  </a:lnTo>
                  <a:lnTo>
                    <a:pt x="124" y="9"/>
                  </a:lnTo>
                  <a:lnTo>
                    <a:pt x="128" y="12"/>
                  </a:lnTo>
                  <a:lnTo>
                    <a:pt x="132" y="15"/>
                  </a:lnTo>
                  <a:lnTo>
                    <a:pt x="136" y="19"/>
                  </a:lnTo>
                  <a:lnTo>
                    <a:pt x="139" y="23"/>
                  </a:lnTo>
                  <a:lnTo>
                    <a:pt x="142" y="28"/>
                  </a:lnTo>
                  <a:lnTo>
                    <a:pt x="144" y="33"/>
                  </a:lnTo>
                  <a:lnTo>
                    <a:pt x="146" y="40"/>
                  </a:lnTo>
                  <a:lnTo>
                    <a:pt x="147" y="46"/>
                  </a:lnTo>
                  <a:lnTo>
                    <a:pt x="149" y="60"/>
                  </a:lnTo>
                  <a:lnTo>
                    <a:pt x="149" y="60"/>
                  </a:lnTo>
                  <a:lnTo>
                    <a:pt x="148" y="71"/>
                  </a:lnTo>
                  <a:lnTo>
                    <a:pt x="146" y="81"/>
                  </a:lnTo>
                  <a:lnTo>
                    <a:pt x="143" y="90"/>
                  </a:lnTo>
                  <a:lnTo>
                    <a:pt x="139" y="98"/>
                  </a:lnTo>
                  <a:lnTo>
                    <a:pt x="134" y="104"/>
                  </a:lnTo>
                  <a:lnTo>
                    <a:pt x="127" y="110"/>
                  </a:lnTo>
                  <a:lnTo>
                    <a:pt x="119" y="114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21" y="120"/>
                  </a:lnTo>
                  <a:lnTo>
                    <a:pt x="129" y="124"/>
                  </a:lnTo>
                  <a:lnTo>
                    <a:pt x="133" y="126"/>
                  </a:lnTo>
                  <a:lnTo>
                    <a:pt x="136" y="129"/>
                  </a:lnTo>
                  <a:lnTo>
                    <a:pt x="138" y="133"/>
                  </a:lnTo>
                  <a:lnTo>
                    <a:pt x="140" y="137"/>
                  </a:lnTo>
                  <a:lnTo>
                    <a:pt x="144" y="146"/>
                  </a:lnTo>
                  <a:lnTo>
                    <a:pt x="146" y="157"/>
                  </a:lnTo>
                  <a:lnTo>
                    <a:pt x="147" y="171"/>
                  </a:lnTo>
                  <a:lnTo>
                    <a:pt x="147" y="188"/>
                  </a:lnTo>
                  <a:lnTo>
                    <a:pt x="147" y="188"/>
                  </a:lnTo>
                  <a:lnTo>
                    <a:pt x="148" y="205"/>
                  </a:lnTo>
                  <a:lnTo>
                    <a:pt x="149" y="217"/>
                  </a:lnTo>
                  <a:lnTo>
                    <a:pt x="151" y="221"/>
                  </a:lnTo>
                  <a:lnTo>
                    <a:pt x="152" y="225"/>
                  </a:lnTo>
                  <a:lnTo>
                    <a:pt x="155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5" y="227"/>
                  </a:lnTo>
                  <a:lnTo>
                    <a:pt x="103" y="221"/>
                  </a:lnTo>
                  <a:lnTo>
                    <a:pt x="102" y="215"/>
                  </a:lnTo>
                  <a:lnTo>
                    <a:pt x="102" y="208"/>
                  </a:lnTo>
                  <a:lnTo>
                    <a:pt x="100" y="163"/>
                  </a:lnTo>
                  <a:lnTo>
                    <a:pt x="100" y="163"/>
                  </a:lnTo>
                  <a:lnTo>
                    <a:pt x="100" y="157"/>
                  </a:lnTo>
                  <a:lnTo>
                    <a:pt x="99" y="151"/>
                  </a:lnTo>
                  <a:lnTo>
                    <a:pt x="96" y="146"/>
                  </a:lnTo>
                  <a:lnTo>
                    <a:pt x="94" y="142"/>
                  </a:lnTo>
                  <a:lnTo>
                    <a:pt x="89" y="139"/>
                  </a:lnTo>
                  <a:lnTo>
                    <a:pt x="84" y="136"/>
                  </a:lnTo>
                  <a:lnTo>
                    <a:pt x="79" y="135"/>
                  </a:lnTo>
                  <a:lnTo>
                    <a:pt x="72" y="134"/>
                  </a:lnTo>
                  <a:lnTo>
                    <a:pt x="48" y="134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8" y="101"/>
                  </a:moveTo>
                  <a:lnTo>
                    <a:pt x="67" y="101"/>
                  </a:lnTo>
                  <a:lnTo>
                    <a:pt x="67" y="101"/>
                  </a:lnTo>
                  <a:lnTo>
                    <a:pt x="75" y="101"/>
                  </a:lnTo>
                  <a:lnTo>
                    <a:pt x="82" y="99"/>
                  </a:lnTo>
                  <a:lnTo>
                    <a:pt x="87" y="97"/>
                  </a:lnTo>
                  <a:lnTo>
                    <a:pt x="92" y="93"/>
                  </a:lnTo>
                  <a:lnTo>
                    <a:pt x="97" y="89"/>
                  </a:lnTo>
                  <a:lnTo>
                    <a:pt x="100" y="83"/>
                  </a:lnTo>
                  <a:lnTo>
                    <a:pt x="102" y="75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2" y="59"/>
                  </a:lnTo>
                  <a:lnTo>
                    <a:pt x="100" y="53"/>
                  </a:lnTo>
                  <a:lnTo>
                    <a:pt x="98" y="48"/>
                  </a:lnTo>
                  <a:lnTo>
                    <a:pt x="94" y="43"/>
                  </a:lnTo>
                  <a:lnTo>
                    <a:pt x="89" y="40"/>
                  </a:lnTo>
                  <a:lnTo>
                    <a:pt x="83" y="37"/>
                  </a:lnTo>
                  <a:lnTo>
                    <a:pt x="77" y="35"/>
                  </a:lnTo>
                  <a:lnTo>
                    <a:pt x="69" y="34"/>
                  </a:lnTo>
                  <a:lnTo>
                    <a:pt x="48" y="34"/>
                  </a:lnTo>
                  <a:lnTo>
                    <a:pt x="48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8413750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3"/>
            <p:cNvSpPr>
              <a:spLocks/>
            </p:cNvSpPr>
            <p:nvPr userDrawn="1"/>
          </p:nvSpPr>
          <p:spPr bwMode="auto">
            <a:xfrm>
              <a:off x="8497888" y="4805363"/>
              <a:ext cx="80963" cy="123825"/>
            </a:xfrm>
            <a:custGeom>
              <a:avLst/>
              <a:gdLst>
                <a:gd name="T0" fmla="*/ 54 w 154"/>
                <a:gd name="T1" fmla="*/ 0 h 232"/>
                <a:gd name="T2" fmla="*/ 111 w 154"/>
                <a:gd name="T3" fmla="*/ 159 h 232"/>
                <a:gd name="T4" fmla="*/ 112 w 154"/>
                <a:gd name="T5" fmla="*/ 159 h 232"/>
                <a:gd name="T6" fmla="*/ 112 w 154"/>
                <a:gd name="T7" fmla="*/ 0 h 232"/>
                <a:gd name="T8" fmla="*/ 154 w 154"/>
                <a:gd name="T9" fmla="*/ 0 h 232"/>
                <a:gd name="T10" fmla="*/ 154 w 154"/>
                <a:gd name="T11" fmla="*/ 232 h 232"/>
                <a:gd name="T12" fmla="*/ 102 w 154"/>
                <a:gd name="T13" fmla="*/ 232 h 232"/>
                <a:gd name="T14" fmla="*/ 44 w 154"/>
                <a:gd name="T15" fmla="*/ 70 h 232"/>
                <a:gd name="T16" fmla="*/ 44 w 154"/>
                <a:gd name="T17" fmla="*/ 70 h 232"/>
                <a:gd name="T18" fmla="*/ 44 w 154"/>
                <a:gd name="T19" fmla="*/ 232 h 232"/>
                <a:gd name="T20" fmla="*/ 0 w 154"/>
                <a:gd name="T21" fmla="*/ 232 h 232"/>
                <a:gd name="T22" fmla="*/ 0 w 154"/>
                <a:gd name="T23" fmla="*/ 0 h 232"/>
                <a:gd name="T24" fmla="*/ 54 w 154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232">
                  <a:moveTo>
                    <a:pt x="54" y="0"/>
                  </a:moveTo>
                  <a:lnTo>
                    <a:pt x="111" y="159"/>
                  </a:lnTo>
                  <a:lnTo>
                    <a:pt x="112" y="159"/>
                  </a:lnTo>
                  <a:lnTo>
                    <a:pt x="112" y="0"/>
                  </a:lnTo>
                  <a:lnTo>
                    <a:pt x="154" y="0"/>
                  </a:lnTo>
                  <a:lnTo>
                    <a:pt x="154" y="232"/>
                  </a:lnTo>
                  <a:lnTo>
                    <a:pt x="102" y="232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4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auto">
            <a:xfrm>
              <a:off x="8589963" y="4805363"/>
              <a:ext cx="95250" cy="123825"/>
            </a:xfrm>
            <a:custGeom>
              <a:avLst/>
              <a:gdLst>
                <a:gd name="T0" fmla="*/ 61 w 180"/>
                <a:gd name="T1" fmla="*/ 0 h 232"/>
                <a:gd name="T2" fmla="*/ 119 w 180"/>
                <a:gd name="T3" fmla="*/ 0 h 232"/>
                <a:gd name="T4" fmla="*/ 180 w 180"/>
                <a:gd name="T5" fmla="*/ 232 h 232"/>
                <a:gd name="T6" fmla="*/ 131 w 180"/>
                <a:gd name="T7" fmla="*/ 232 h 232"/>
                <a:gd name="T8" fmla="*/ 121 w 180"/>
                <a:gd name="T9" fmla="*/ 183 h 232"/>
                <a:gd name="T10" fmla="*/ 59 w 180"/>
                <a:gd name="T11" fmla="*/ 183 h 232"/>
                <a:gd name="T12" fmla="*/ 48 w 180"/>
                <a:gd name="T13" fmla="*/ 232 h 232"/>
                <a:gd name="T14" fmla="*/ 0 w 180"/>
                <a:gd name="T15" fmla="*/ 232 h 232"/>
                <a:gd name="T16" fmla="*/ 61 w 180"/>
                <a:gd name="T17" fmla="*/ 0 h 232"/>
                <a:gd name="T18" fmla="*/ 67 w 180"/>
                <a:gd name="T19" fmla="*/ 145 h 232"/>
                <a:gd name="T20" fmla="*/ 113 w 180"/>
                <a:gd name="T21" fmla="*/ 145 h 232"/>
                <a:gd name="T22" fmla="*/ 90 w 180"/>
                <a:gd name="T23" fmla="*/ 41 h 232"/>
                <a:gd name="T24" fmla="*/ 90 w 180"/>
                <a:gd name="T25" fmla="*/ 41 h 232"/>
                <a:gd name="T26" fmla="*/ 67 w 180"/>
                <a:gd name="T27" fmla="*/ 14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0" h="232">
                  <a:moveTo>
                    <a:pt x="61" y="0"/>
                  </a:moveTo>
                  <a:lnTo>
                    <a:pt x="119" y="0"/>
                  </a:lnTo>
                  <a:lnTo>
                    <a:pt x="180" y="232"/>
                  </a:lnTo>
                  <a:lnTo>
                    <a:pt x="131" y="232"/>
                  </a:lnTo>
                  <a:lnTo>
                    <a:pt x="121" y="183"/>
                  </a:lnTo>
                  <a:lnTo>
                    <a:pt x="59" y="183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61" y="0"/>
                  </a:lnTo>
                  <a:close/>
                  <a:moveTo>
                    <a:pt x="67" y="145"/>
                  </a:moveTo>
                  <a:lnTo>
                    <a:pt x="113" y="145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67" y="14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8691563" y="4805363"/>
              <a:ext cx="77788" cy="125413"/>
            </a:xfrm>
            <a:custGeom>
              <a:avLst/>
              <a:gdLst>
                <a:gd name="T0" fmla="*/ 46 w 148"/>
                <a:gd name="T1" fmla="*/ 0 h 236"/>
                <a:gd name="T2" fmla="*/ 46 w 148"/>
                <a:gd name="T3" fmla="*/ 162 h 236"/>
                <a:gd name="T4" fmla="*/ 46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49 w 148"/>
                <a:gd name="T11" fmla="*/ 184 h 236"/>
                <a:gd name="T12" fmla="*/ 52 w 148"/>
                <a:gd name="T13" fmla="*/ 190 h 236"/>
                <a:gd name="T14" fmla="*/ 55 w 148"/>
                <a:gd name="T15" fmla="*/ 195 h 236"/>
                <a:gd name="T16" fmla="*/ 60 w 148"/>
                <a:gd name="T17" fmla="*/ 199 h 236"/>
                <a:gd name="T18" fmla="*/ 67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2 w 148"/>
                <a:gd name="T25" fmla="*/ 202 h 236"/>
                <a:gd name="T26" fmla="*/ 88 w 148"/>
                <a:gd name="T27" fmla="*/ 199 h 236"/>
                <a:gd name="T28" fmla="*/ 92 w 148"/>
                <a:gd name="T29" fmla="*/ 195 h 236"/>
                <a:gd name="T30" fmla="*/ 96 w 148"/>
                <a:gd name="T31" fmla="*/ 190 h 236"/>
                <a:gd name="T32" fmla="*/ 98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1 w 148"/>
                <a:gd name="T39" fmla="*/ 162 h 236"/>
                <a:gd name="T40" fmla="*/ 101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8 w 148"/>
                <a:gd name="T49" fmla="*/ 172 h 236"/>
                <a:gd name="T50" fmla="*/ 147 w 148"/>
                <a:gd name="T51" fmla="*/ 182 h 236"/>
                <a:gd name="T52" fmla="*/ 144 w 148"/>
                <a:gd name="T53" fmla="*/ 190 h 236"/>
                <a:gd name="T54" fmla="*/ 141 w 148"/>
                <a:gd name="T55" fmla="*/ 199 h 236"/>
                <a:gd name="T56" fmla="*/ 138 w 148"/>
                <a:gd name="T57" fmla="*/ 206 h 236"/>
                <a:gd name="T58" fmla="*/ 134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8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59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6 w 148"/>
                <a:gd name="T97" fmla="*/ 200 h 236"/>
                <a:gd name="T98" fmla="*/ 4 w 148"/>
                <a:gd name="T99" fmla="*/ 191 h 236"/>
                <a:gd name="T100" fmla="*/ 2 w 148"/>
                <a:gd name="T101" fmla="*/ 182 h 236"/>
                <a:gd name="T102" fmla="*/ 1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6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6" y="0"/>
                  </a:moveTo>
                  <a:lnTo>
                    <a:pt x="46" y="162"/>
                  </a:lnTo>
                  <a:lnTo>
                    <a:pt x="46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49" y="184"/>
                  </a:lnTo>
                  <a:lnTo>
                    <a:pt x="52" y="190"/>
                  </a:lnTo>
                  <a:lnTo>
                    <a:pt x="55" y="195"/>
                  </a:lnTo>
                  <a:lnTo>
                    <a:pt x="60" y="199"/>
                  </a:lnTo>
                  <a:lnTo>
                    <a:pt x="67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2" y="202"/>
                  </a:lnTo>
                  <a:lnTo>
                    <a:pt x="88" y="199"/>
                  </a:lnTo>
                  <a:lnTo>
                    <a:pt x="92" y="195"/>
                  </a:lnTo>
                  <a:lnTo>
                    <a:pt x="96" y="190"/>
                  </a:lnTo>
                  <a:lnTo>
                    <a:pt x="98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1" y="162"/>
                  </a:lnTo>
                  <a:lnTo>
                    <a:pt x="101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8" y="172"/>
                  </a:lnTo>
                  <a:lnTo>
                    <a:pt x="147" y="182"/>
                  </a:lnTo>
                  <a:lnTo>
                    <a:pt x="144" y="190"/>
                  </a:lnTo>
                  <a:lnTo>
                    <a:pt x="141" y="199"/>
                  </a:lnTo>
                  <a:lnTo>
                    <a:pt x="138" y="206"/>
                  </a:lnTo>
                  <a:lnTo>
                    <a:pt x="134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8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59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6" y="200"/>
                  </a:lnTo>
                  <a:lnTo>
                    <a:pt x="4" y="191"/>
                  </a:lnTo>
                  <a:lnTo>
                    <a:pt x="2" y="182"/>
                  </a:lnTo>
                  <a:lnTo>
                    <a:pt x="1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auto">
            <a:xfrm>
              <a:off x="8789988" y="4805363"/>
              <a:ext cx="69850" cy="123825"/>
            </a:xfrm>
            <a:custGeom>
              <a:avLst/>
              <a:gdLst>
                <a:gd name="T0" fmla="*/ 0 w 130"/>
                <a:gd name="T1" fmla="*/ 232 h 232"/>
                <a:gd name="T2" fmla="*/ 0 w 130"/>
                <a:gd name="T3" fmla="*/ 0 h 232"/>
                <a:gd name="T4" fmla="*/ 47 w 130"/>
                <a:gd name="T5" fmla="*/ 0 h 232"/>
                <a:gd name="T6" fmla="*/ 47 w 130"/>
                <a:gd name="T7" fmla="*/ 193 h 232"/>
                <a:gd name="T8" fmla="*/ 130 w 130"/>
                <a:gd name="T9" fmla="*/ 193 h 232"/>
                <a:gd name="T10" fmla="*/ 130 w 130"/>
                <a:gd name="T11" fmla="*/ 232 h 232"/>
                <a:gd name="T12" fmla="*/ 0 w 130"/>
                <a:gd name="T13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32">
                  <a:moveTo>
                    <a:pt x="0" y="232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93"/>
                  </a:lnTo>
                  <a:lnTo>
                    <a:pt x="130" y="193"/>
                  </a:lnTo>
                  <a:lnTo>
                    <a:pt x="130" y="232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auto">
            <a:xfrm>
              <a:off x="8848725" y="4805363"/>
              <a:ext cx="77788" cy="123825"/>
            </a:xfrm>
            <a:custGeom>
              <a:avLst/>
              <a:gdLst>
                <a:gd name="T0" fmla="*/ 148 w 148"/>
                <a:gd name="T1" fmla="*/ 0 h 232"/>
                <a:gd name="T2" fmla="*/ 148 w 148"/>
                <a:gd name="T3" fmla="*/ 39 h 232"/>
                <a:gd name="T4" fmla="*/ 97 w 148"/>
                <a:gd name="T5" fmla="*/ 39 h 232"/>
                <a:gd name="T6" fmla="*/ 97 w 148"/>
                <a:gd name="T7" fmla="*/ 232 h 232"/>
                <a:gd name="T8" fmla="*/ 51 w 148"/>
                <a:gd name="T9" fmla="*/ 232 h 232"/>
                <a:gd name="T10" fmla="*/ 51 w 148"/>
                <a:gd name="T11" fmla="*/ 39 h 232"/>
                <a:gd name="T12" fmla="*/ 0 w 148"/>
                <a:gd name="T13" fmla="*/ 39 h 232"/>
                <a:gd name="T14" fmla="*/ 0 w 148"/>
                <a:gd name="T15" fmla="*/ 0 h 232"/>
                <a:gd name="T16" fmla="*/ 148 w 148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232">
                  <a:moveTo>
                    <a:pt x="148" y="0"/>
                  </a:moveTo>
                  <a:lnTo>
                    <a:pt x="148" y="39"/>
                  </a:lnTo>
                  <a:lnTo>
                    <a:pt x="97" y="39"/>
                  </a:lnTo>
                  <a:lnTo>
                    <a:pt x="97" y="232"/>
                  </a:lnTo>
                  <a:lnTo>
                    <a:pt x="51" y="232"/>
                  </a:lnTo>
                  <a:lnTo>
                    <a:pt x="51" y="39"/>
                  </a:lnTo>
                  <a:lnTo>
                    <a:pt x="0" y="39"/>
                  </a:lnTo>
                  <a:lnTo>
                    <a:pt x="0" y="0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0" name="Rectangle 6"/>
          <p:cNvSpPr>
            <a:spLocks noChangeArrowheads="1"/>
          </p:cNvSpPr>
          <p:nvPr userDrawn="1"/>
        </p:nvSpPr>
        <p:spPr bwMode="auto">
          <a:xfrm>
            <a:off x="6711842" y="6457427"/>
            <a:ext cx="348546" cy="14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fld id="{78210625-ECA7-4862-B00E-5DC0AA3A3D4E}" type="slidenum">
              <a:rPr sz="800" b="0" noProof="1">
                <a:solidFill>
                  <a:schemeClr val="tx1"/>
                </a:solidFill>
              </a:rPr>
              <a:pPr/>
              <a:t>‹N°›</a:t>
            </a:fld>
            <a:endParaRPr lang="fr-FR" sz="400" b="0" noProof="1">
              <a:solidFill>
                <a:schemeClr val="tx1"/>
              </a:solidFill>
            </a:endParaRPr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6611803" y="6366055"/>
            <a:ext cx="0" cy="216404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22"/>
          <p:cNvSpPr>
            <a:spLocks noGrp="1"/>
          </p:cNvSpPr>
          <p:nvPr>
            <p:ph type="body" sz="quarter" idx="11" hasCustomPrompt="1"/>
          </p:nvPr>
        </p:nvSpPr>
        <p:spPr>
          <a:xfrm>
            <a:off x="2315914" y="6309974"/>
            <a:ext cx="2127067" cy="497735"/>
          </a:xfrm>
          <a:prstGeom prst="rect">
            <a:avLst/>
          </a:prstGeom>
        </p:spPr>
        <p:txBody>
          <a:bodyPr>
            <a:normAutofit/>
          </a:bodyPr>
          <a:lstStyle>
            <a:lvl1pPr marL="252009" indent="-252009">
              <a:buNone/>
              <a:defRPr lang="fr-FR" sz="8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F7B100"/>
              </a:buClr>
            </a:pPr>
            <a:r>
              <a:rPr lang="fr-FR" dirty="0" err="1"/>
              <a:t>Author</a:t>
            </a:r>
            <a:r>
              <a:rPr lang="fr-FR" dirty="0"/>
              <a:t> of document </a:t>
            </a:r>
            <a:br>
              <a:rPr lang="fr-FR" dirty="0"/>
            </a:br>
            <a:r>
              <a:rPr lang="fr-FR" dirty="0" err="1"/>
              <a:t>yyyy</a:t>
            </a:r>
            <a:r>
              <a:rPr lang="fr-FR" dirty="0"/>
              <a:t>/mm/dd</a:t>
            </a:r>
          </a:p>
        </p:txBody>
      </p:sp>
    </p:spTree>
    <p:extLst>
      <p:ext uri="{BB962C8B-B14F-4D97-AF65-F5344CB8AC3E}">
        <p14:creationId xmlns:p14="http://schemas.microsoft.com/office/powerpoint/2010/main" val="97319637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3"/>
          <p:cNvSpPr>
            <a:spLocks noGrp="1"/>
          </p:cNvSpPr>
          <p:nvPr>
            <p:ph type="title" hasCustomPrompt="1"/>
          </p:nvPr>
        </p:nvSpPr>
        <p:spPr>
          <a:xfrm>
            <a:off x="236484" y="341194"/>
            <a:ext cx="8486398" cy="464024"/>
          </a:xfrm>
          <a:prstGeom prst="rect">
            <a:avLst/>
          </a:prstGeom>
        </p:spPr>
        <p:txBody>
          <a:bodyPr lIns="0" tIns="0" rIns="0" bIns="0"/>
          <a:lstStyle>
            <a:lvl1pPr>
              <a:defRPr sz="2600" cap="all" baseline="0">
                <a:latin typeface="Arial Narrow" panose="020B0606020202030204" pitchFamily="34" charset="0"/>
              </a:defRPr>
            </a:lvl1pPr>
          </a:lstStyle>
          <a:p>
            <a:r>
              <a:rPr lang="fr-FR" dirty="0"/>
              <a:t>PAGE TITLE</a:t>
            </a:r>
          </a:p>
        </p:txBody>
      </p:sp>
      <p:grpSp>
        <p:nvGrpSpPr>
          <p:cNvPr id="20" name="Groupe 19"/>
          <p:cNvGrpSpPr>
            <a:grpSpLocks noChangeAspect="1"/>
          </p:cNvGrpSpPr>
          <p:nvPr userDrawn="1"/>
        </p:nvGrpSpPr>
        <p:grpSpPr>
          <a:xfrm>
            <a:off x="7309664" y="6434507"/>
            <a:ext cx="1411250" cy="147591"/>
            <a:chOff x="7712075" y="4803775"/>
            <a:chExt cx="1214438" cy="127001"/>
          </a:xfrm>
        </p:grpSpPr>
        <p:sp>
          <p:nvSpPr>
            <p:cNvPr id="21" name="Freeform 5"/>
            <p:cNvSpPr>
              <a:spLocks/>
            </p:cNvSpPr>
            <p:nvPr userDrawn="1"/>
          </p:nvSpPr>
          <p:spPr bwMode="auto">
            <a:xfrm>
              <a:off x="7712075" y="4803775"/>
              <a:ext cx="80963" cy="127000"/>
            </a:xfrm>
            <a:custGeom>
              <a:avLst/>
              <a:gdLst>
                <a:gd name="T0" fmla="*/ 105 w 153"/>
                <a:gd name="T1" fmla="*/ 73 h 240"/>
                <a:gd name="T2" fmla="*/ 103 w 153"/>
                <a:gd name="T3" fmla="*/ 60 h 240"/>
                <a:gd name="T4" fmla="*/ 99 w 153"/>
                <a:gd name="T5" fmla="*/ 48 h 240"/>
                <a:gd name="T6" fmla="*/ 90 w 153"/>
                <a:gd name="T7" fmla="*/ 37 h 240"/>
                <a:gd name="T8" fmla="*/ 78 w 153"/>
                <a:gd name="T9" fmla="*/ 34 h 240"/>
                <a:gd name="T10" fmla="*/ 71 w 153"/>
                <a:gd name="T11" fmla="*/ 35 h 240"/>
                <a:gd name="T12" fmla="*/ 64 w 153"/>
                <a:gd name="T13" fmla="*/ 38 h 240"/>
                <a:gd name="T14" fmla="*/ 59 w 153"/>
                <a:gd name="T15" fmla="*/ 45 h 240"/>
                <a:gd name="T16" fmla="*/ 51 w 153"/>
                <a:gd name="T17" fmla="*/ 64 h 240"/>
                <a:gd name="T18" fmla="*/ 47 w 153"/>
                <a:gd name="T19" fmla="*/ 95 h 240"/>
                <a:gd name="T20" fmla="*/ 47 w 153"/>
                <a:gd name="T21" fmla="*/ 115 h 240"/>
                <a:gd name="T22" fmla="*/ 48 w 153"/>
                <a:gd name="T23" fmla="*/ 153 h 240"/>
                <a:gd name="T24" fmla="*/ 53 w 153"/>
                <a:gd name="T25" fmla="*/ 181 h 240"/>
                <a:gd name="T26" fmla="*/ 60 w 153"/>
                <a:gd name="T27" fmla="*/ 196 h 240"/>
                <a:gd name="T28" fmla="*/ 66 w 153"/>
                <a:gd name="T29" fmla="*/ 203 h 240"/>
                <a:gd name="T30" fmla="*/ 74 w 153"/>
                <a:gd name="T31" fmla="*/ 206 h 240"/>
                <a:gd name="T32" fmla="*/ 79 w 153"/>
                <a:gd name="T33" fmla="*/ 206 h 240"/>
                <a:gd name="T34" fmla="*/ 88 w 153"/>
                <a:gd name="T35" fmla="*/ 204 h 240"/>
                <a:gd name="T36" fmla="*/ 97 w 153"/>
                <a:gd name="T37" fmla="*/ 196 h 240"/>
                <a:gd name="T38" fmla="*/ 104 w 153"/>
                <a:gd name="T39" fmla="*/ 185 h 240"/>
                <a:gd name="T40" fmla="*/ 107 w 153"/>
                <a:gd name="T41" fmla="*/ 169 h 240"/>
                <a:gd name="T42" fmla="*/ 77 w 153"/>
                <a:gd name="T43" fmla="*/ 146 h 240"/>
                <a:gd name="T44" fmla="*/ 153 w 153"/>
                <a:gd name="T45" fmla="*/ 111 h 240"/>
                <a:gd name="T46" fmla="*/ 118 w 153"/>
                <a:gd name="T47" fmla="*/ 236 h 240"/>
                <a:gd name="T48" fmla="*/ 117 w 153"/>
                <a:gd name="T49" fmla="*/ 215 h 240"/>
                <a:gd name="T50" fmla="*/ 113 w 153"/>
                <a:gd name="T51" fmla="*/ 221 h 240"/>
                <a:gd name="T52" fmla="*/ 103 w 153"/>
                <a:gd name="T53" fmla="*/ 231 h 240"/>
                <a:gd name="T54" fmla="*/ 91 w 153"/>
                <a:gd name="T55" fmla="*/ 237 h 240"/>
                <a:gd name="T56" fmla="*/ 77 w 153"/>
                <a:gd name="T57" fmla="*/ 240 h 240"/>
                <a:gd name="T58" fmla="*/ 69 w 153"/>
                <a:gd name="T59" fmla="*/ 240 h 240"/>
                <a:gd name="T60" fmla="*/ 50 w 153"/>
                <a:gd name="T61" fmla="*/ 238 h 240"/>
                <a:gd name="T62" fmla="*/ 33 w 153"/>
                <a:gd name="T63" fmla="*/ 233 h 240"/>
                <a:gd name="T64" fmla="*/ 21 w 153"/>
                <a:gd name="T65" fmla="*/ 223 h 240"/>
                <a:gd name="T66" fmla="*/ 13 w 153"/>
                <a:gd name="T67" fmla="*/ 209 h 240"/>
                <a:gd name="T68" fmla="*/ 6 w 153"/>
                <a:gd name="T69" fmla="*/ 191 h 240"/>
                <a:gd name="T70" fmla="*/ 3 w 153"/>
                <a:gd name="T71" fmla="*/ 170 h 240"/>
                <a:gd name="T72" fmla="*/ 0 w 153"/>
                <a:gd name="T73" fmla="*/ 117 h 240"/>
                <a:gd name="T74" fmla="*/ 1 w 153"/>
                <a:gd name="T75" fmla="*/ 90 h 240"/>
                <a:gd name="T76" fmla="*/ 4 w 153"/>
                <a:gd name="T77" fmla="*/ 66 h 240"/>
                <a:gd name="T78" fmla="*/ 9 w 153"/>
                <a:gd name="T79" fmla="*/ 46 h 240"/>
                <a:gd name="T80" fmla="*/ 16 w 153"/>
                <a:gd name="T81" fmla="*/ 29 h 240"/>
                <a:gd name="T82" fmla="*/ 27 w 153"/>
                <a:gd name="T83" fmla="*/ 16 h 240"/>
                <a:gd name="T84" fmla="*/ 40 w 153"/>
                <a:gd name="T85" fmla="*/ 7 h 240"/>
                <a:gd name="T86" fmla="*/ 58 w 153"/>
                <a:gd name="T87" fmla="*/ 2 h 240"/>
                <a:gd name="T88" fmla="*/ 78 w 153"/>
                <a:gd name="T89" fmla="*/ 0 h 240"/>
                <a:gd name="T90" fmla="*/ 87 w 153"/>
                <a:gd name="T91" fmla="*/ 0 h 240"/>
                <a:gd name="T92" fmla="*/ 103 w 153"/>
                <a:gd name="T93" fmla="*/ 2 h 240"/>
                <a:gd name="T94" fmla="*/ 117 w 153"/>
                <a:gd name="T95" fmla="*/ 7 h 240"/>
                <a:gd name="T96" fmla="*/ 129 w 153"/>
                <a:gd name="T97" fmla="*/ 14 h 240"/>
                <a:gd name="T98" fmla="*/ 137 w 153"/>
                <a:gd name="T99" fmla="*/ 23 h 240"/>
                <a:gd name="T100" fmla="*/ 144 w 153"/>
                <a:gd name="T101" fmla="*/ 35 h 240"/>
                <a:gd name="T102" fmla="*/ 148 w 153"/>
                <a:gd name="T103" fmla="*/ 49 h 240"/>
                <a:gd name="T104" fmla="*/ 150 w 153"/>
                <a:gd name="T105" fmla="*/ 73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3" h="240">
                  <a:moveTo>
                    <a:pt x="105" y="73"/>
                  </a:moveTo>
                  <a:lnTo>
                    <a:pt x="105" y="73"/>
                  </a:lnTo>
                  <a:lnTo>
                    <a:pt x="104" y="67"/>
                  </a:lnTo>
                  <a:lnTo>
                    <a:pt x="103" y="60"/>
                  </a:lnTo>
                  <a:lnTo>
                    <a:pt x="101" y="53"/>
                  </a:lnTo>
                  <a:lnTo>
                    <a:pt x="99" y="48"/>
                  </a:lnTo>
                  <a:lnTo>
                    <a:pt x="95" y="42"/>
                  </a:lnTo>
                  <a:lnTo>
                    <a:pt x="90" y="37"/>
                  </a:lnTo>
                  <a:lnTo>
                    <a:pt x="85" y="35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1" y="35"/>
                  </a:lnTo>
                  <a:lnTo>
                    <a:pt x="67" y="36"/>
                  </a:lnTo>
                  <a:lnTo>
                    <a:pt x="64" y="38"/>
                  </a:lnTo>
                  <a:lnTo>
                    <a:pt x="61" y="42"/>
                  </a:lnTo>
                  <a:lnTo>
                    <a:pt x="59" y="45"/>
                  </a:lnTo>
                  <a:lnTo>
                    <a:pt x="54" y="53"/>
                  </a:lnTo>
                  <a:lnTo>
                    <a:pt x="51" y="64"/>
                  </a:lnTo>
                  <a:lnTo>
                    <a:pt x="49" y="78"/>
                  </a:lnTo>
                  <a:lnTo>
                    <a:pt x="47" y="9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35"/>
                  </a:lnTo>
                  <a:lnTo>
                    <a:pt x="48" y="153"/>
                  </a:lnTo>
                  <a:lnTo>
                    <a:pt x="50" y="168"/>
                  </a:lnTo>
                  <a:lnTo>
                    <a:pt x="53" y="181"/>
                  </a:lnTo>
                  <a:lnTo>
                    <a:pt x="57" y="192"/>
                  </a:lnTo>
                  <a:lnTo>
                    <a:pt x="60" y="196"/>
                  </a:lnTo>
                  <a:lnTo>
                    <a:pt x="63" y="199"/>
                  </a:lnTo>
                  <a:lnTo>
                    <a:pt x="66" y="203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lnTo>
                    <a:pt x="83" y="206"/>
                  </a:lnTo>
                  <a:lnTo>
                    <a:pt x="88" y="204"/>
                  </a:lnTo>
                  <a:lnTo>
                    <a:pt x="93" y="201"/>
                  </a:lnTo>
                  <a:lnTo>
                    <a:pt x="97" y="196"/>
                  </a:lnTo>
                  <a:lnTo>
                    <a:pt x="101" y="191"/>
                  </a:lnTo>
                  <a:lnTo>
                    <a:pt x="104" y="185"/>
                  </a:lnTo>
                  <a:lnTo>
                    <a:pt x="107" y="178"/>
                  </a:lnTo>
                  <a:lnTo>
                    <a:pt x="107" y="169"/>
                  </a:lnTo>
                  <a:lnTo>
                    <a:pt x="107" y="146"/>
                  </a:lnTo>
                  <a:lnTo>
                    <a:pt x="77" y="146"/>
                  </a:lnTo>
                  <a:lnTo>
                    <a:pt x="77" y="111"/>
                  </a:lnTo>
                  <a:lnTo>
                    <a:pt x="153" y="111"/>
                  </a:lnTo>
                  <a:lnTo>
                    <a:pt x="153" y="236"/>
                  </a:lnTo>
                  <a:lnTo>
                    <a:pt x="118" y="236"/>
                  </a:lnTo>
                  <a:lnTo>
                    <a:pt x="118" y="215"/>
                  </a:lnTo>
                  <a:lnTo>
                    <a:pt x="117" y="215"/>
                  </a:lnTo>
                  <a:lnTo>
                    <a:pt x="117" y="215"/>
                  </a:lnTo>
                  <a:lnTo>
                    <a:pt x="113" y="221"/>
                  </a:lnTo>
                  <a:lnTo>
                    <a:pt x="108" y="226"/>
                  </a:lnTo>
                  <a:lnTo>
                    <a:pt x="103" y="231"/>
                  </a:lnTo>
                  <a:lnTo>
                    <a:pt x="97" y="234"/>
                  </a:lnTo>
                  <a:lnTo>
                    <a:pt x="91" y="237"/>
                  </a:lnTo>
                  <a:lnTo>
                    <a:pt x="84" y="239"/>
                  </a:lnTo>
                  <a:lnTo>
                    <a:pt x="77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59" y="240"/>
                  </a:lnTo>
                  <a:lnTo>
                    <a:pt x="50" y="238"/>
                  </a:lnTo>
                  <a:lnTo>
                    <a:pt x="41" y="236"/>
                  </a:lnTo>
                  <a:lnTo>
                    <a:pt x="33" y="233"/>
                  </a:lnTo>
                  <a:lnTo>
                    <a:pt x="27" y="228"/>
                  </a:lnTo>
                  <a:lnTo>
                    <a:pt x="21" y="223"/>
                  </a:lnTo>
                  <a:lnTo>
                    <a:pt x="17" y="217"/>
                  </a:lnTo>
                  <a:lnTo>
                    <a:pt x="13" y="209"/>
                  </a:lnTo>
                  <a:lnTo>
                    <a:pt x="9" y="201"/>
                  </a:lnTo>
                  <a:lnTo>
                    <a:pt x="6" y="191"/>
                  </a:lnTo>
                  <a:lnTo>
                    <a:pt x="4" y="181"/>
                  </a:lnTo>
                  <a:lnTo>
                    <a:pt x="3" y="170"/>
                  </a:lnTo>
                  <a:lnTo>
                    <a:pt x="1" y="14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1" y="90"/>
                  </a:lnTo>
                  <a:lnTo>
                    <a:pt x="2" y="78"/>
                  </a:lnTo>
                  <a:lnTo>
                    <a:pt x="4" y="66"/>
                  </a:lnTo>
                  <a:lnTo>
                    <a:pt x="6" y="56"/>
                  </a:lnTo>
                  <a:lnTo>
                    <a:pt x="9" y="46"/>
                  </a:lnTo>
                  <a:lnTo>
                    <a:pt x="12" y="37"/>
                  </a:lnTo>
                  <a:lnTo>
                    <a:pt x="16" y="29"/>
                  </a:lnTo>
                  <a:lnTo>
                    <a:pt x="21" y="22"/>
                  </a:lnTo>
                  <a:lnTo>
                    <a:pt x="27" y="16"/>
                  </a:lnTo>
                  <a:lnTo>
                    <a:pt x="33" y="11"/>
                  </a:lnTo>
                  <a:lnTo>
                    <a:pt x="40" y="7"/>
                  </a:lnTo>
                  <a:lnTo>
                    <a:pt x="49" y="4"/>
                  </a:lnTo>
                  <a:lnTo>
                    <a:pt x="58" y="2"/>
                  </a:lnTo>
                  <a:lnTo>
                    <a:pt x="67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7" y="0"/>
                  </a:lnTo>
                  <a:lnTo>
                    <a:pt x="95" y="1"/>
                  </a:lnTo>
                  <a:lnTo>
                    <a:pt x="103" y="2"/>
                  </a:lnTo>
                  <a:lnTo>
                    <a:pt x="110" y="4"/>
                  </a:lnTo>
                  <a:lnTo>
                    <a:pt x="117" y="7"/>
                  </a:lnTo>
                  <a:lnTo>
                    <a:pt x="123" y="10"/>
                  </a:lnTo>
                  <a:lnTo>
                    <a:pt x="129" y="14"/>
                  </a:lnTo>
                  <a:lnTo>
                    <a:pt x="133" y="18"/>
                  </a:lnTo>
                  <a:lnTo>
                    <a:pt x="137" y="23"/>
                  </a:lnTo>
                  <a:lnTo>
                    <a:pt x="141" y="29"/>
                  </a:lnTo>
                  <a:lnTo>
                    <a:pt x="144" y="35"/>
                  </a:lnTo>
                  <a:lnTo>
                    <a:pt x="146" y="42"/>
                  </a:lnTo>
                  <a:lnTo>
                    <a:pt x="148" y="49"/>
                  </a:lnTo>
                  <a:lnTo>
                    <a:pt x="149" y="57"/>
                  </a:lnTo>
                  <a:lnTo>
                    <a:pt x="150" y="73"/>
                  </a:lnTo>
                  <a:lnTo>
                    <a:pt x="105" y="73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auto">
            <a:xfrm>
              <a:off x="7810500" y="4805363"/>
              <a:ext cx="82550" cy="123825"/>
            </a:xfrm>
            <a:custGeom>
              <a:avLst/>
              <a:gdLst>
                <a:gd name="T0" fmla="*/ 86 w 157"/>
                <a:gd name="T1" fmla="*/ 0 h 232"/>
                <a:gd name="T2" fmla="*/ 99 w 157"/>
                <a:gd name="T3" fmla="*/ 1 h 232"/>
                <a:gd name="T4" fmla="*/ 123 w 157"/>
                <a:gd name="T5" fmla="*/ 9 h 232"/>
                <a:gd name="T6" fmla="*/ 131 w 157"/>
                <a:gd name="T7" fmla="*/ 15 h 232"/>
                <a:gd name="T8" fmla="*/ 138 w 157"/>
                <a:gd name="T9" fmla="*/ 23 h 232"/>
                <a:gd name="T10" fmla="*/ 143 w 157"/>
                <a:gd name="T11" fmla="*/ 33 h 232"/>
                <a:gd name="T12" fmla="*/ 147 w 157"/>
                <a:gd name="T13" fmla="*/ 46 h 232"/>
                <a:gd name="T14" fmla="*/ 148 w 157"/>
                <a:gd name="T15" fmla="*/ 60 h 232"/>
                <a:gd name="T16" fmla="*/ 145 w 157"/>
                <a:gd name="T17" fmla="*/ 81 h 232"/>
                <a:gd name="T18" fmla="*/ 138 w 157"/>
                <a:gd name="T19" fmla="*/ 98 h 232"/>
                <a:gd name="T20" fmla="*/ 126 w 157"/>
                <a:gd name="T21" fmla="*/ 110 h 232"/>
                <a:gd name="T22" fmla="*/ 108 w 157"/>
                <a:gd name="T23" fmla="*/ 118 h 232"/>
                <a:gd name="T24" fmla="*/ 108 w 157"/>
                <a:gd name="T25" fmla="*/ 118 h 232"/>
                <a:gd name="T26" fmla="*/ 128 w 157"/>
                <a:gd name="T27" fmla="*/ 124 h 232"/>
                <a:gd name="T28" fmla="*/ 135 w 157"/>
                <a:gd name="T29" fmla="*/ 129 h 232"/>
                <a:gd name="T30" fmla="*/ 139 w 157"/>
                <a:gd name="T31" fmla="*/ 137 h 232"/>
                <a:gd name="T32" fmla="*/ 145 w 157"/>
                <a:gd name="T33" fmla="*/ 157 h 232"/>
                <a:gd name="T34" fmla="*/ 146 w 157"/>
                <a:gd name="T35" fmla="*/ 188 h 232"/>
                <a:gd name="T36" fmla="*/ 147 w 157"/>
                <a:gd name="T37" fmla="*/ 205 h 232"/>
                <a:gd name="T38" fmla="*/ 150 w 157"/>
                <a:gd name="T39" fmla="*/ 221 h 232"/>
                <a:gd name="T40" fmla="*/ 154 w 157"/>
                <a:gd name="T41" fmla="*/ 228 h 232"/>
                <a:gd name="T42" fmla="*/ 157 w 157"/>
                <a:gd name="T43" fmla="*/ 232 h 232"/>
                <a:gd name="T44" fmla="*/ 106 w 157"/>
                <a:gd name="T45" fmla="*/ 232 h 232"/>
                <a:gd name="T46" fmla="*/ 101 w 157"/>
                <a:gd name="T47" fmla="*/ 221 h 232"/>
                <a:gd name="T48" fmla="*/ 100 w 157"/>
                <a:gd name="T49" fmla="*/ 208 h 232"/>
                <a:gd name="T50" fmla="*/ 99 w 157"/>
                <a:gd name="T51" fmla="*/ 163 h 232"/>
                <a:gd name="T52" fmla="*/ 97 w 157"/>
                <a:gd name="T53" fmla="*/ 151 h 232"/>
                <a:gd name="T54" fmla="*/ 92 w 157"/>
                <a:gd name="T55" fmla="*/ 142 h 232"/>
                <a:gd name="T56" fmla="*/ 83 w 157"/>
                <a:gd name="T57" fmla="*/ 136 h 232"/>
                <a:gd name="T58" fmla="*/ 71 w 157"/>
                <a:gd name="T59" fmla="*/ 134 h 232"/>
                <a:gd name="T60" fmla="*/ 47 w 157"/>
                <a:gd name="T61" fmla="*/ 232 h 232"/>
                <a:gd name="T62" fmla="*/ 0 w 157"/>
                <a:gd name="T63" fmla="*/ 0 h 232"/>
                <a:gd name="T64" fmla="*/ 66 w 157"/>
                <a:gd name="T65" fmla="*/ 101 h 232"/>
                <a:gd name="T66" fmla="*/ 74 w 157"/>
                <a:gd name="T67" fmla="*/ 101 h 232"/>
                <a:gd name="T68" fmla="*/ 87 w 157"/>
                <a:gd name="T69" fmla="*/ 97 h 232"/>
                <a:gd name="T70" fmla="*/ 95 w 157"/>
                <a:gd name="T71" fmla="*/ 89 h 232"/>
                <a:gd name="T72" fmla="*/ 100 w 157"/>
                <a:gd name="T73" fmla="*/ 75 h 232"/>
                <a:gd name="T74" fmla="*/ 100 w 157"/>
                <a:gd name="T75" fmla="*/ 67 h 232"/>
                <a:gd name="T76" fmla="*/ 98 w 157"/>
                <a:gd name="T77" fmla="*/ 53 h 232"/>
                <a:gd name="T78" fmla="*/ 92 w 157"/>
                <a:gd name="T79" fmla="*/ 43 h 232"/>
                <a:gd name="T80" fmla="*/ 82 w 157"/>
                <a:gd name="T81" fmla="*/ 37 h 232"/>
                <a:gd name="T82" fmla="*/ 68 w 157"/>
                <a:gd name="T83" fmla="*/ 34 h 232"/>
                <a:gd name="T84" fmla="*/ 47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6" y="0"/>
                  </a:lnTo>
                  <a:lnTo>
                    <a:pt x="86" y="0"/>
                  </a:lnTo>
                  <a:lnTo>
                    <a:pt x="99" y="1"/>
                  </a:lnTo>
                  <a:lnTo>
                    <a:pt x="112" y="4"/>
                  </a:lnTo>
                  <a:lnTo>
                    <a:pt x="123" y="9"/>
                  </a:lnTo>
                  <a:lnTo>
                    <a:pt x="127" y="12"/>
                  </a:lnTo>
                  <a:lnTo>
                    <a:pt x="131" y="15"/>
                  </a:lnTo>
                  <a:lnTo>
                    <a:pt x="135" y="19"/>
                  </a:lnTo>
                  <a:lnTo>
                    <a:pt x="138" y="23"/>
                  </a:lnTo>
                  <a:lnTo>
                    <a:pt x="141" y="28"/>
                  </a:lnTo>
                  <a:lnTo>
                    <a:pt x="143" y="33"/>
                  </a:lnTo>
                  <a:lnTo>
                    <a:pt x="145" y="40"/>
                  </a:lnTo>
                  <a:lnTo>
                    <a:pt x="147" y="46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47" y="71"/>
                  </a:lnTo>
                  <a:lnTo>
                    <a:pt x="145" y="81"/>
                  </a:lnTo>
                  <a:lnTo>
                    <a:pt x="142" y="90"/>
                  </a:lnTo>
                  <a:lnTo>
                    <a:pt x="138" y="98"/>
                  </a:lnTo>
                  <a:lnTo>
                    <a:pt x="133" y="104"/>
                  </a:lnTo>
                  <a:lnTo>
                    <a:pt x="126" y="110"/>
                  </a:lnTo>
                  <a:lnTo>
                    <a:pt x="119" y="114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08" y="118"/>
                  </a:lnTo>
                  <a:lnTo>
                    <a:pt x="120" y="120"/>
                  </a:lnTo>
                  <a:lnTo>
                    <a:pt x="128" y="124"/>
                  </a:lnTo>
                  <a:lnTo>
                    <a:pt x="132" y="126"/>
                  </a:lnTo>
                  <a:lnTo>
                    <a:pt x="135" y="129"/>
                  </a:lnTo>
                  <a:lnTo>
                    <a:pt x="137" y="133"/>
                  </a:lnTo>
                  <a:lnTo>
                    <a:pt x="139" y="137"/>
                  </a:lnTo>
                  <a:lnTo>
                    <a:pt x="143" y="146"/>
                  </a:lnTo>
                  <a:lnTo>
                    <a:pt x="145" y="157"/>
                  </a:lnTo>
                  <a:lnTo>
                    <a:pt x="146" y="171"/>
                  </a:lnTo>
                  <a:lnTo>
                    <a:pt x="146" y="188"/>
                  </a:lnTo>
                  <a:lnTo>
                    <a:pt x="146" y="188"/>
                  </a:lnTo>
                  <a:lnTo>
                    <a:pt x="147" y="205"/>
                  </a:lnTo>
                  <a:lnTo>
                    <a:pt x="148" y="217"/>
                  </a:lnTo>
                  <a:lnTo>
                    <a:pt x="150" y="221"/>
                  </a:lnTo>
                  <a:lnTo>
                    <a:pt x="151" y="225"/>
                  </a:lnTo>
                  <a:lnTo>
                    <a:pt x="154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6" y="232"/>
                  </a:lnTo>
                  <a:lnTo>
                    <a:pt x="106" y="232"/>
                  </a:lnTo>
                  <a:lnTo>
                    <a:pt x="103" y="227"/>
                  </a:lnTo>
                  <a:lnTo>
                    <a:pt x="101" y="221"/>
                  </a:lnTo>
                  <a:lnTo>
                    <a:pt x="100" y="215"/>
                  </a:lnTo>
                  <a:lnTo>
                    <a:pt x="100" y="208"/>
                  </a:lnTo>
                  <a:lnTo>
                    <a:pt x="99" y="163"/>
                  </a:lnTo>
                  <a:lnTo>
                    <a:pt x="99" y="163"/>
                  </a:lnTo>
                  <a:lnTo>
                    <a:pt x="98" y="157"/>
                  </a:lnTo>
                  <a:lnTo>
                    <a:pt x="97" y="151"/>
                  </a:lnTo>
                  <a:lnTo>
                    <a:pt x="95" y="146"/>
                  </a:lnTo>
                  <a:lnTo>
                    <a:pt x="92" y="142"/>
                  </a:lnTo>
                  <a:lnTo>
                    <a:pt x="88" y="139"/>
                  </a:lnTo>
                  <a:lnTo>
                    <a:pt x="83" y="136"/>
                  </a:lnTo>
                  <a:lnTo>
                    <a:pt x="78" y="135"/>
                  </a:lnTo>
                  <a:lnTo>
                    <a:pt x="71" y="134"/>
                  </a:lnTo>
                  <a:lnTo>
                    <a:pt x="47" y="134"/>
                  </a:lnTo>
                  <a:lnTo>
                    <a:pt x="47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7" y="101"/>
                  </a:moveTo>
                  <a:lnTo>
                    <a:pt x="66" y="101"/>
                  </a:lnTo>
                  <a:lnTo>
                    <a:pt x="66" y="101"/>
                  </a:lnTo>
                  <a:lnTo>
                    <a:pt x="74" y="101"/>
                  </a:lnTo>
                  <a:lnTo>
                    <a:pt x="81" y="99"/>
                  </a:lnTo>
                  <a:lnTo>
                    <a:pt x="87" y="97"/>
                  </a:lnTo>
                  <a:lnTo>
                    <a:pt x="91" y="93"/>
                  </a:lnTo>
                  <a:lnTo>
                    <a:pt x="95" y="89"/>
                  </a:lnTo>
                  <a:lnTo>
                    <a:pt x="98" y="83"/>
                  </a:lnTo>
                  <a:lnTo>
                    <a:pt x="100" y="75"/>
                  </a:lnTo>
                  <a:lnTo>
                    <a:pt x="100" y="67"/>
                  </a:lnTo>
                  <a:lnTo>
                    <a:pt x="100" y="67"/>
                  </a:lnTo>
                  <a:lnTo>
                    <a:pt x="100" y="59"/>
                  </a:lnTo>
                  <a:lnTo>
                    <a:pt x="98" y="53"/>
                  </a:lnTo>
                  <a:lnTo>
                    <a:pt x="96" y="48"/>
                  </a:lnTo>
                  <a:lnTo>
                    <a:pt x="92" y="43"/>
                  </a:lnTo>
                  <a:lnTo>
                    <a:pt x="88" y="40"/>
                  </a:lnTo>
                  <a:lnTo>
                    <a:pt x="82" y="37"/>
                  </a:lnTo>
                  <a:lnTo>
                    <a:pt x="76" y="35"/>
                  </a:lnTo>
                  <a:lnTo>
                    <a:pt x="68" y="34"/>
                  </a:lnTo>
                  <a:lnTo>
                    <a:pt x="47" y="34"/>
                  </a:lnTo>
                  <a:lnTo>
                    <a:pt x="47" y="101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7904163" y="4803775"/>
              <a:ext cx="84138" cy="127000"/>
            </a:xfrm>
            <a:custGeom>
              <a:avLst/>
              <a:gdLst>
                <a:gd name="T0" fmla="*/ 79 w 158"/>
                <a:gd name="T1" fmla="*/ 0 h 240"/>
                <a:gd name="T2" fmla="*/ 102 w 158"/>
                <a:gd name="T3" fmla="*/ 2 h 240"/>
                <a:gd name="T4" fmla="*/ 122 w 158"/>
                <a:gd name="T5" fmla="*/ 8 h 240"/>
                <a:gd name="T6" fmla="*/ 135 w 158"/>
                <a:gd name="T7" fmla="*/ 19 h 240"/>
                <a:gd name="T8" fmla="*/ 145 w 158"/>
                <a:gd name="T9" fmla="*/ 33 h 240"/>
                <a:gd name="T10" fmla="*/ 152 w 158"/>
                <a:gd name="T11" fmla="*/ 51 h 240"/>
                <a:gd name="T12" fmla="*/ 156 w 158"/>
                <a:gd name="T13" fmla="*/ 72 h 240"/>
                <a:gd name="T14" fmla="*/ 158 w 158"/>
                <a:gd name="T15" fmla="*/ 121 h 240"/>
                <a:gd name="T16" fmla="*/ 158 w 158"/>
                <a:gd name="T17" fmla="*/ 146 h 240"/>
                <a:gd name="T18" fmla="*/ 154 w 158"/>
                <a:gd name="T19" fmla="*/ 179 h 240"/>
                <a:gd name="T20" fmla="*/ 149 w 158"/>
                <a:gd name="T21" fmla="*/ 198 h 240"/>
                <a:gd name="T22" fmla="*/ 141 w 158"/>
                <a:gd name="T23" fmla="*/ 215 h 240"/>
                <a:gd name="T24" fmla="*/ 129 w 158"/>
                <a:gd name="T25" fmla="*/ 227 h 240"/>
                <a:gd name="T26" fmla="*/ 113 w 158"/>
                <a:gd name="T27" fmla="*/ 235 h 240"/>
                <a:gd name="T28" fmla="*/ 92 w 158"/>
                <a:gd name="T29" fmla="*/ 240 h 240"/>
                <a:gd name="T30" fmla="*/ 79 w 158"/>
                <a:gd name="T31" fmla="*/ 240 h 240"/>
                <a:gd name="T32" fmla="*/ 56 w 158"/>
                <a:gd name="T33" fmla="*/ 238 h 240"/>
                <a:gd name="T34" fmla="*/ 38 w 158"/>
                <a:gd name="T35" fmla="*/ 232 h 240"/>
                <a:gd name="T36" fmla="*/ 24 w 158"/>
                <a:gd name="T37" fmla="*/ 221 h 240"/>
                <a:gd name="T38" fmla="*/ 13 w 158"/>
                <a:gd name="T39" fmla="*/ 207 h 240"/>
                <a:gd name="T40" fmla="*/ 7 w 158"/>
                <a:gd name="T41" fmla="*/ 189 h 240"/>
                <a:gd name="T42" fmla="*/ 3 w 158"/>
                <a:gd name="T43" fmla="*/ 168 h 240"/>
                <a:gd name="T44" fmla="*/ 0 w 158"/>
                <a:gd name="T45" fmla="*/ 121 h 240"/>
                <a:gd name="T46" fmla="*/ 1 w 158"/>
                <a:gd name="T47" fmla="*/ 94 h 240"/>
                <a:gd name="T48" fmla="*/ 5 w 158"/>
                <a:gd name="T49" fmla="*/ 61 h 240"/>
                <a:gd name="T50" fmla="*/ 10 w 158"/>
                <a:gd name="T51" fmla="*/ 42 h 240"/>
                <a:gd name="T52" fmla="*/ 18 w 158"/>
                <a:gd name="T53" fmla="*/ 26 h 240"/>
                <a:gd name="T54" fmla="*/ 31 w 158"/>
                <a:gd name="T55" fmla="*/ 13 h 240"/>
                <a:gd name="T56" fmla="*/ 46 w 158"/>
                <a:gd name="T57" fmla="*/ 5 h 240"/>
                <a:gd name="T58" fmla="*/ 67 w 158"/>
                <a:gd name="T59" fmla="*/ 0 h 240"/>
                <a:gd name="T60" fmla="*/ 79 w 158"/>
                <a:gd name="T61" fmla="*/ 0 h 240"/>
                <a:gd name="T62" fmla="*/ 79 w 158"/>
                <a:gd name="T63" fmla="*/ 206 h 240"/>
                <a:gd name="T64" fmla="*/ 88 w 158"/>
                <a:gd name="T65" fmla="*/ 205 h 240"/>
                <a:gd name="T66" fmla="*/ 96 w 158"/>
                <a:gd name="T67" fmla="*/ 202 h 240"/>
                <a:gd name="T68" fmla="*/ 101 w 158"/>
                <a:gd name="T69" fmla="*/ 195 h 240"/>
                <a:gd name="T70" fmla="*/ 106 w 158"/>
                <a:gd name="T71" fmla="*/ 186 h 240"/>
                <a:gd name="T72" fmla="*/ 111 w 158"/>
                <a:gd name="T73" fmla="*/ 160 h 240"/>
                <a:gd name="T74" fmla="*/ 112 w 158"/>
                <a:gd name="T75" fmla="*/ 121 h 240"/>
                <a:gd name="T76" fmla="*/ 112 w 158"/>
                <a:gd name="T77" fmla="*/ 98 h 240"/>
                <a:gd name="T78" fmla="*/ 109 w 158"/>
                <a:gd name="T79" fmla="*/ 66 h 240"/>
                <a:gd name="T80" fmla="*/ 103 w 158"/>
                <a:gd name="T81" fmla="*/ 49 h 240"/>
                <a:gd name="T82" fmla="*/ 99 w 158"/>
                <a:gd name="T83" fmla="*/ 42 h 240"/>
                <a:gd name="T84" fmla="*/ 92 w 158"/>
                <a:gd name="T85" fmla="*/ 36 h 240"/>
                <a:gd name="T86" fmla="*/ 84 w 158"/>
                <a:gd name="T87" fmla="*/ 34 h 240"/>
                <a:gd name="T88" fmla="*/ 79 w 158"/>
                <a:gd name="T89" fmla="*/ 34 h 240"/>
                <a:gd name="T90" fmla="*/ 70 w 158"/>
                <a:gd name="T91" fmla="*/ 35 h 240"/>
                <a:gd name="T92" fmla="*/ 63 w 158"/>
                <a:gd name="T93" fmla="*/ 38 h 240"/>
                <a:gd name="T94" fmla="*/ 57 w 158"/>
                <a:gd name="T95" fmla="*/ 45 h 240"/>
                <a:gd name="T96" fmla="*/ 53 w 158"/>
                <a:gd name="T97" fmla="*/ 54 h 240"/>
                <a:gd name="T98" fmla="*/ 49 w 158"/>
                <a:gd name="T99" fmla="*/ 80 h 240"/>
                <a:gd name="T100" fmla="*/ 48 w 158"/>
                <a:gd name="T101" fmla="*/ 121 h 240"/>
                <a:gd name="T102" fmla="*/ 48 w 158"/>
                <a:gd name="T103" fmla="*/ 142 h 240"/>
                <a:gd name="T104" fmla="*/ 50 w 158"/>
                <a:gd name="T105" fmla="*/ 174 h 240"/>
                <a:gd name="T106" fmla="*/ 55 w 158"/>
                <a:gd name="T107" fmla="*/ 191 h 240"/>
                <a:gd name="T108" fmla="*/ 60 w 158"/>
                <a:gd name="T109" fmla="*/ 198 h 240"/>
                <a:gd name="T110" fmla="*/ 66 w 158"/>
                <a:gd name="T111" fmla="*/ 204 h 240"/>
                <a:gd name="T112" fmla="*/ 74 w 158"/>
                <a:gd name="T113" fmla="*/ 206 h 240"/>
                <a:gd name="T114" fmla="*/ 79 w 158"/>
                <a:gd name="T115" fmla="*/ 206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8" h="240">
                  <a:moveTo>
                    <a:pt x="79" y="0"/>
                  </a:moveTo>
                  <a:lnTo>
                    <a:pt x="79" y="0"/>
                  </a:lnTo>
                  <a:lnTo>
                    <a:pt x="92" y="0"/>
                  </a:lnTo>
                  <a:lnTo>
                    <a:pt x="102" y="2"/>
                  </a:lnTo>
                  <a:lnTo>
                    <a:pt x="113" y="5"/>
                  </a:lnTo>
                  <a:lnTo>
                    <a:pt x="122" y="8"/>
                  </a:lnTo>
                  <a:lnTo>
                    <a:pt x="129" y="13"/>
                  </a:lnTo>
                  <a:lnTo>
                    <a:pt x="135" y="19"/>
                  </a:lnTo>
                  <a:lnTo>
                    <a:pt x="141" y="26"/>
                  </a:lnTo>
                  <a:lnTo>
                    <a:pt x="145" y="33"/>
                  </a:lnTo>
                  <a:lnTo>
                    <a:pt x="149" y="42"/>
                  </a:lnTo>
                  <a:lnTo>
                    <a:pt x="152" y="51"/>
                  </a:lnTo>
                  <a:lnTo>
                    <a:pt x="154" y="61"/>
                  </a:lnTo>
                  <a:lnTo>
                    <a:pt x="156" y="72"/>
                  </a:lnTo>
                  <a:lnTo>
                    <a:pt x="158" y="94"/>
                  </a:lnTo>
                  <a:lnTo>
                    <a:pt x="158" y="121"/>
                  </a:lnTo>
                  <a:lnTo>
                    <a:pt x="158" y="121"/>
                  </a:lnTo>
                  <a:lnTo>
                    <a:pt x="158" y="146"/>
                  </a:lnTo>
                  <a:lnTo>
                    <a:pt x="156" y="168"/>
                  </a:lnTo>
                  <a:lnTo>
                    <a:pt x="154" y="179"/>
                  </a:lnTo>
                  <a:lnTo>
                    <a:pt x="152" y="189"/>
                  </a:lnTo>
                  <a:lnTo>
                    <a:pt x="149" y="198"/>
                  </a:lnTo>
                  <a:lnTo>
                    <a:pt x="145" y="207"/>
                  </a:lnTo>
                  <a:lnTo>
                    <a:pt x="141" y="215"/>
                  </a:lnTo>
                  <a:lnTo>
                    <a:pt x="135" y="221"/>
                  </a:lnTo>
                  <a:lnTo>
                    <a:pt x="129" y="227"/>
                  </a:lnTo>
                  <a:lnTo>
                    <a:pt x="122" y="232"/>
                  </a:lnTo>
                  <a:lnTo>
                    <a:pt x="113" y="235"/>
                  </a:lnTo>
                  <a:lnTo>
                    <a:pt x="102" y="238"/>
                  </a:lnTo>
                  <a:lnTo>
                    <a:pt x="92" y="240"/>
                  </a:lnTo>
                  <a:lnTo>
                    <a:pt x="79" y="240"/>
                  </a:lnTo>
                  <a:lnTo>
                    <a:pt x="79" y="240"/>
                  </a:lnTo>
                  <a:lnTo>
                    <a:pt x="67" y="240"/>
                  </a:lnTo>
                  <a:lnTo>
                    <a:pt x="56" y="238"/>
                  </a:lnTo>
                  <a:lnTo>
                    <a:pt x="46" y="235"/>
                  </a:lnTo>
                  <a:lnTo>
                    <a:pt x="38" y="232"/>
                  </a:lnTo>
                  <a:lnTo>
                    <a:pt x="31" y="227"/>
                  </a:lnTo>
                  <a:lnTo>
                    <a:pt x="24" y="221"/>
                  </a:lnTo>
                  <a:lnTo>
                    <a:pt x="18" y="215"/>
                  </a:lnTo>
                  <a:lnTo>
                    <a:pt x="13" y="207"/>
                  </a:lnTo>
                  <a:lnTo>
                    <a:pt x="10" y="198"/>
                  </a:lnTo>
                  <a:lnTo>
                    <a:pt x="7" y="189"/>
                  </a:lnTo>
                  <a:lnTo>
                    <a:pt x="5" y="179"/>
                  </a:lnTo>
                  <a:lnTo>
                    <a:pt x="3" y="168"/>
                  </a:lnTo>
                  <a:lnTo>
                    <a:pt x="1" y="146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1" y="94"/>
                  </a:lnTo>
                  <a:lnTo>
                    <a:pt x="3" y="72"/>
                  </a:lnTo>
                  <a:lnTo>
                    <a:pt x="5" y="61"/>
                  </a:lnTo>
                  <a:lnTo>
                    <a:pt x="7" y="51"/>
                  </a:lnTo>
                  <a:lnTo>
                    <a:pt x="10" y="42"/>
                  </a:lnTo>
                  <a:lnTo>
                    <a:pt x="13" y="33"/>
                  </a:lnTo>
                  <a:lnTo>
                    <a:pt x="18" y="26"/>
                  </a:lnTo>
                  <a:lnTo>
                    <a:pt x="24" y="19"/>
                  </a:lnTo>
                  <a:lnTo>
                    <a:pt x="31" y="13"/>
                  </a:lnTo>
                  <a:lnTo>
                    <a:pt x="38" y="8"/>
                  </a:lnTo>
                  <a:lnTo>
                    <a:pt x="46" y="5"/>
                  </a:lnTo>
                  <a:lnTo>
                    <a:pt x="56" y="2"/>
                  </a:lnTo>
                  <a:lnTo>
                    <a:pt x="67" y="0"/>
                  </a:lnTo>
                  <a:lnTo>
                    <a:pt x="79" y="0"/>
                  </a:lnTo>
                  <a:lnTo>
                    <a:pt x="79" y="0"/>
                  </a:lnTo>
                  <a:close/>
                  <a:moveTo>
                    <a:pt x="79" y="206"/>
                  </a:moveTo>
                  <a:lnTo>
                    <a:pt x="79" y="206"/>
                  </a:lnTo>
                  <a:lnTo>
                    <a:pt x="84" y="206"/>
                  </a:lnTo>
                  <a:lnTo>
                    <a:pt x="88" y="205"/>
                  </a:lnTo>
                  <a:lnTo>
                    <a:pt x="92" y="204"/>
                  </a:lnTo>
                  <a:lnTo>
                    <a:pt x="96" y="202"/>
                  </a:lnTo>
                  <a:lnTo>
                    <a:pt x="99" y="198"/>
                  </a:lnTo>
                  <a:lnTo>
                    <a:pt x="101" y="195"/>
                  </a:lnTo>
                  <a:lnTo>
                    <a:pt x="103" y="191"/>
                  </a:lnTo>
                  <a:lnTo>
                    <a:pt x="106" y="186"/>
                  </a:lnTo>
                  <a:lnTo>
                    <a:pt x="109" y="174"/>
                  </a:lnTo>
                  <a:lnTo>
                    <a:pt x="111" y="160"/>
                  </a:lnTo>
                  <a:lnTo>
                    <a:pt x="112" y="142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98"/>
                  </a:lnTo>
                  <a:lnTo>
                    <a:pt x="111" y="80"/>
                  </a:lnTo>
                  <a:lnTo>
                    <a:pt x="109" y="66"/>
                  </a:lnTo>
                  <a:lnTo>
                    <a:pt x="106" y="54"/>
                  </a:lnTo>
                  <a:lnTo>
                    <a:pt x="103" y="49"/>
                  </a:lnTo>
                  <a:lnTo>
                    <a:pt x="101" y="45"/>
                  </a:lnTo>
                  <a:lnTo>
                    <a:pt x="99" y="42"/>
                  </a:lnTo>
                  <a:lnTo>
                    <a:pt x="96" y="38"/>
                  </a:lnTo>
                  <a:lnTo>
                    <a:pt x="92" y="36"/>
                  </a:lnTo>
                  <a:lnTo>
                    <a:pt x="88" y="35"/>
                  </a:lnTo>
                  <a:lnTo>
                    <a:pt x="84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4" y="34"/>
                  </a:lnTo>
                  <a:lnTo>
                    <a:pt x="70" y="35"/>
                  </a:lnTo>
                  <a:lnTo>
                    <a:pt x="66" y="36"/>
                  </a:lnTo>
                  <a:lnTo>
                    <a:pt x="63" y="38"/>
                  </a:lnTo>
                  <a:lnTo>
                    <a:pt x="60" y="42"/>
                  </a:lnTo>
                  <a:lnTo>
                    <a:pt x="57" y="45"/>
                  </a:lnTo>
                  <a:lnTo>
                    <a:pt x="55" y="49"/>
                  </a:lnTo>
                  <a:lnTo>
                    <a:pt x="53" y="54"/>
                  </a:lnTo>
                  <a:lnTo>
                    <a:pt x="50" y="66"/>
                  </a:lnTo>
                  <a:lnTo>
                    <a:pt x="49" y="80"/>
                  </a:lnTo>
                  <a:lnTo>
                    <a:pt x="48" y="98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48" y="142"/>
                  </a:lnTo>
                  <a:lnTo>
                    <a:pt x="49" y="160"/>
                  </a:lnTo>
                  <a:lnTo>
                    <a:pt x="50" y="174"/>
                  </a:lnTo>
                  <a:lnTo>
                    <a:pt x="53" y="186"/>
                  </a:lnTo>
                  <a:lnTo>
                    <a:pt x="55" y="191"/>
                  </a:lnTo>
                  <a:lnTo>
                    <a:pt x="57" y="195"/>
                  </a:lnTo>
                  <a:lnTo>
                    <a:pt x="60" y="198"/>
                  </a:lnTo>
                  <a:lnTo>
                    <a:pt x="63" y="202"/>
                  </a:lnTo>
                  <a:lnTo>
                    <a:pt x="66" y="204"/>
                  </a:lnTo>
                  <a:lnTo>
                    <a:pt x="70" y="205"/>
                  </a:lnTo>
                  <a:lnTo>
                    <a:pt x="74" y="206"/>
                  </a:lnTo>
                  <a:lnTo>
                    <a:pt x="79" y="206"/>
                  </a:lnTo>
                  <a:lnTo>
                    <a:pt x="79" y="206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8002588" y="4805363"/>
              <a:ext cx="77788" cy="125413"/>
            </a:xfrm>
            <a:custGeom>
              <a:avLst/>
              <a:gdLst>
                <a:gd name="T0" fmla="*/ 47 w 148"/>
                <a:gd name="T1" fmla="*/ 0 h 236"/>
                <a:gd name="T2" fmla="*/ 47 w 148"/>
                <a:gd name="T3" fmla="*/ 162 h 236"/>
                <a:gd name="T4" fmla="*/ 47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50 w 148"/>
                <a:gd name="T11" fmla="*/ 184 h 236"/>
                <a:gd name="T12" fmla="*/ 52 w 148"/>
                <a:gd name="T13" fmla="*/ 190 h 236"/>
                <a:gd name="T14" fmla="*/ 56 w 148"/>
                <a:gd name="T15" fmla="*/ 195 h 236"/>
                <a:gd name="T16" fmla="*/ 60 w 148"/>
                <a:gd name="T17" fmla="*/ 199 h 236"/>
                <a:gd name="T18" fmla="*/ 66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1 w 148"/>
                <a:gd name="T25" fmla="*/ 202 h 236"/>
                <a:gd name="T26" fmla="*/ 87 w 148"/>
                <a:gd name="T27" fmla="*/ 199 h 236"/>
                <a:gd name="T28" fmla="*/ 93 w 148"/>
                <a:gd name="T29" fmla="*/ 195 h 236"/>
                <a:gd name="T30" fmla="*/ 96 w 148"/>
                <a:gd name="T31" fmla="*/ 190 h 236"/>
                <a:gd name="T32" fmla="*/ 99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2 w 148"/>
                <a:gd name="T39" fmla="*/ 162 h 236"/>
                <a:gd name="T40" fmla="*/ 102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7 w 148"/>
                <a:gd name="T49" fmla="*/ 172 h 236"/>
                <a:gd name="T50" fmla="*/ 146 w 148"/>
                <a:gd name="T51" fmla="*/ 182 h 236"/>
                <a:gd name="T52" fmla="*/ 144 w 148"/>
                <a:gd name="T53" fmla="*/ 190 h 236"/>
                <a:gd name="T54" fmla="*/ 142 w 148"/>
                <a:gd name="T55" fmla="*/ 199 h 236"/>
                <a:gd name="T56" fmla="*/ 138 w 148"/>
                <a:gd name="T57" fmla="*/ 206 h 236"/>
                <a:gd name="T58" fmla="*/ 135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9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60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7 w 148"/>
                <a:gd name="T97" fmla="*/ 200 h 236"/>
                <a:gd name="T98" fmla="*/ 4 w 148"/>
                <a:gd name="T99" fmla="*/ 191 h 236"/>
                <a:gd name="T100" fmla="*/ 1 w 148"/>
                <a:gd name="T101" fmla="*/ 182 h 236"/>
                <a:gd name="T102" fmla="*/ 0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7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7" y="0"/>
                  </a:moveTo>
                  <a:lnTo>
                    <a:pt x="47" y="162"/>
                  </a:lnTo>
                  <a:lnTo>
                    <a:pt x="47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50" y="184"/>
                  </a:lnTo>
                  <a:lnTo>
                    <a:pt x="52" y="190"/>
                  </a:lnTo>
                  <a:lnTo>
                    <a:pt x="56" y="195"/>
                  </a:lnTo>
                  <a:lnTo>
                    <a:pt x="60" y="199"/>
                  </a:lnTo>
                  <a:lnTo>
                    <a:pt x="66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1" y="202"/>
                  </a:lnTo>
                  <a:lnTo>
                    <a:pt x="87" y="199"/>
                  </a:lnTo>
                  <a:lnTo>
                    <a:pt x="93" y="195"/>
                  </a:lnTo>
                  <a:lnTo>
                    <a:pt x="96" y="190"/>
                  </a:lnTo>
                  <a:lnTo>
                    <a:pt x="99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2" y="162"/>
                  </a:lnTo>
                  <a:lnTo>
                    <a:pt x="102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72"/>
                  </a:lnTo>
                  <a:lnTo>
                    <a:pt x="146" y="182"/>
                  </a:lnTo>
                  <a:lnTo>
                    <a:pt x="144" y="190"/>
                  </a:lnTo>
                  <a:lnTo>
                    <a:pt x="142" y="199"/>
                  </a:lnTo>
                  <a:lnTo>
                    <a:pt x="138" y="206"/>
                  </a:lnTo>
                  <a:lnTo>
                    <a:pt x="135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9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60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7" y="200"/>
                  </a:lnTo>
                  <a:lnTo>
                    <a:pt x="4" y="191"/>
                  </a:lnTo>
                  <a:lnTo>
                    <a:pt x="1" y="182"/>
                  </a:lnTo>
                  <a:lnTo>
                    <a:pt x="0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8101013" y="4805363"/>
              <a:ext cx="76200" cy="123825"/>
            </a:xfrm>
            <a:custGeom>
              <a:avLst/>
              <a:gdLst>
                <a:gd name="T0" fmla="*/ 0 w 144"/>
                <a:gd name="T1" fmla="*/ 0 h 232"/>
                <a:gd name="T2" fmla="*/ 82 w 144"/>
                <a:gd name="T3" fmla="*/ 0 h 232"/>
                <a:gd name="T4" fmla="*/ 82 w 144"/>
                <a:gd name="T5" fmla="*/ 0 h 232"/>
                <a:gd name="T6" fmla="*/ 90 w 144"/>
                <a:gd name="T7" fmla="*/ 1 h 232"/>
                <a:gd name="T8" fmla="*/ 98 w 144"/>
                <a:gd name="T9" fmla="*/ 2 h 232"/>
                <a:gd name="T10" fmla="*/ 105 w 144"/>
                <a:gd name="T11" fmla="*/ 4 h 232"/>
                <a:gd name="T12" fmla="*/ 111 w 144"/>
                <a:gd name="T13" fmla="*/ 6 h 232"/>
                <a:gd name="T14" fmla="*/ 117 w 144"/>
                <a:gd name="T15" fmla="*/ 9 h 232"/>
                <a:gd name="T16" fmla="*/ 122 w 144"/>
                <a:gd name="T17" fmla="*/ 13 h 232"/>
                <a:gd name="T18" fmla="*/ 127 w 144"/>
                <a:gd name="T19" fmla="*/ 17 h 232"/>
                <a:gd name="T20" fmla="*/ 131 w 144"/>
                <a:gd name="T21" fmla="*/ 22 h 232"/>
                <a:gd name="T22" fmla="*/ 134 w 144"/>
                <a:gd name="T23" fmla="*/ 27 h 232"/>
                <a:gd name="T24" fmla="*/ 137 w 144"/>
                <a:gd name="T25" fmla="*/ 32 h 232"/>
                <a:gd name="T26" fmla="*/ 141 w 144"/>
                <a:gd name="T27" fmla="*/ 45 h 232"/>
                <a:gd name="T28" fmla="*/ 144 w 144"/>
                <a:gd name="T29" fmla="*/ 57 h 232"/>
                <a:gd name="T30" fmla="*/ 144 w 144"/>
                <a:gd name="T31" fmla="*/ 70 h 232"/>
                <a:gd name="T32" fmla="*/ 144 w 144"/>
                <a:gd name="T33" fmla="*/ 70 h 232"/>
                <a:gd name="T34" fmla="*/ 144 w 144"/>
                <a:gd name="T35" fmla="*/ 78 h 232"/>
                <a:gd name="T36" fmla="*/ 143 w 144"/>
                <a:gd name="T37" fmla="*/ 86 h 232"/>
                <a:gd name="T38" fmla="*/ 141 w 144"/>
                <a:gd name="T39" fmla="*/ 94 h 232"/>
                <a:gd name="T40" fmla="*/ 139 w 144"/>
                <a:gd name="T41" fmla="*/ 101 h 232"/>
                <a:gd name="T42" fmla="*/ 136 w 144"/>
                <a:gd name="T43" fmla="*/ 107 h 232"/>
                <a:gd name="T44" fmla="*/ 133 w 144"/>
                <a:gd name="T45" fmla="*/ 112 h 232"/>
                <a:gd name="T46" fmla="*/ 129 w 144"/>
                <a:gd name="T47" fmla="*/ 118 h 232"/>
                <a:gd name="T48" fmla="*/ 124 w 144"/>
                <a:gd name="T49" fmla="*/ 123 h 232"/>
                <a:gd name="T50" fmla="*/ 119 w 144"/>
                <a:gd name="T51" fmla="*/ 127 h 232"/>
                <a:gd name="T52" fmla="*/ 114 w 144"/>
                <a:gd name="T53" fmla="*/ 130 h 232"/>
                <a:gd name="T54" fmla="*/ 108 w 144"/>
                <a:gd name="T55" fmla="*/ 133 h 232"/>
                <a:gd name="T56" fmla="*/ 101 w 144"/>
                <a:gd name="T57" fmla="*/ 136 h 232"/>
                <a:gd name="T58" fmla="*/ 95 w 144"/>
                <a:gd name="T59" fmla="*/ 137 h 232"/>
                <a:gd name="T60" fmla="*/ 87 w 144"/>
                <a:gd name="T61" fmla="*/ 139 h 232"/>
                <a:gd name="T62" fmla="*/ 71 w 144"/>
                <a:gd name="T63" fmla="*/ 140 h 232"/>
                <a:gd name="T64" fmla="*/ 46 w 144"/>
                <a:gd name="T65" fmla="*/ 140 h 232"/>
                <a:gd name="T66" fmla="*/ 46 w 144"/>
                <a:gd name="T67" fmla="*/ 232 h 232"/>
                <a:gd name="T68" fmla="*/ 0 w 144"/>
                <a:gd name="T69" fmla="*/ 232 h 232"/>
                <a:gd name="T70" fmla="*/ 0 w 144"/>
                <a:gd name="T71" fmla="*/ 0 h 232"/>
                <a:gd name="T72" fmla="*/ 46 w 144"/>
                <a:gd name="T73" fmla="*/ 105 h 232"/>
                <a:gd name="T74" fmla="*/ 67 w 144"/>
                <a:gd name="T75" fmla="*/ 105 h 232"/>
                <a:gd name="T76" fmla="*/ 67 w 144"/>
                <a:gd name="T77" fmla="*/ 105 h 232"/>
                <a:gd name="T78" fmla="*/ 74 w 144"/>
                <a:gd name="T79" fmla="*/ 104 h 232"/>
                <a:gd name="T80" fmla="*/ 80 w 144"/>
                <a:gd name="T81" fmla="*/ 103 h 232"/>
                <a:gd name="T82" fmla="*/ 85 w 144"/>
                <a:gd name="T83" fmla="*/ 100 h 232"/>
                <a:gd name="T84" fmla="*/ 90 w 144"/>
                <a:gd name="T85" fmla="*/ 96 h 232"/>
                <a:gd name="T86" fmla="*/ 93 w 144"/>
                <a:gd name="T87" fmla="*/ 92 h 232"/>
                <a:gd name="T88" fmla="*/ 96 w 144"/>
                <a:gd name="T89" fmla="*/ 86 h 232"/>
                <a:gd name="T90" fmla="*/ 98 w 144"/>
                <a:gd name="T91" fmla="*/ 79 h 232"/>
                <a:gd name="T92" fmla="*/ 98 w 144"/>
                <a:gd name="T93" fmla="*/ 70 h 232"/>
                <a:gd name="T94" fmla="*/ 98 w 144"/>
                <a:gd name="T95" fmla="*/ 70 h 232"/>
                <a:gd name="T96" fmla="*/ 98 w 144"/>
                <a:gd name="T97" fmla="*/ 62 h 232"/>
                <a:gd name="T98" fmla="*/ 97 w 144"/>
                <a:gd name="T99" fmla="*/ 55 h 232"/>
                <a:gd name="T100" fmla="*/ 94 w 144"/>
                <a:gd name="T101" fmla="*/ 49 h 232"/>
                <a:gd name="T102" fmla="*/ 91 w 144"/>
                <a:gd name="T103" fmla="*/ 44 h 232"/>
                <a:gd name="T104" fmla="*/ 87 w 144"/>
                <a:gd name="T105" fmla="*/ 40 h 232"/>
                <a:gd name="T106" fmla="*/ 81 w 144"/>
                <a:gd name="T107" fmla="*/ 37 h 232"/>
                <a:gd name="T108" fmla="*/ 74 w 144"/>
                <a:gd name="T109" fmla="*/ 35 h 232"/>
                <a:gd name="T110" fmla="*/ 65 w 144"/>
                <a:gd name="T111" fmla="*/ 34 h 232"/>
                <a:gd name="T112" fmla="*/ 46 w 144"/>
                <a:gd name="T113" fmla="*/ 34 h 232"/>
                <a:gd name="T114" fmla="*/ 46 w 144"/>
                <a:gd name="T115" fmla="*/ 10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4" h="232">
                  <a:moveTo>
                    <a:pt x="0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90" y="1"/>
                  </a:lnTo>
                  <a:lnTo>
                    <a:pt x="98" y="2"/>
                  </a:lnTo>
                  <a:lnTo>
                    <a:pt x="105" y="4"/>
                  </a:lnTo>
                  <a:lnTo>
                    <a:pt x="111" y="6"/>
                  </a:lnTo>
                  <a:lnTo>
                    <a:pt x="117" y="9"/>
                  </a:lnTo>
                  <a:lnTo>
                    <a:pt x="122" y="13"/>
                  </a:lnTo>
                  <a:lnTo>
                    <a:pt x="127" y="17"/>
                  </a:lnTo>
                  <a:lnTo>
                    <a:pt x="131" y="22"/>
                  </a:lnTo>
                  <a:lnTo>
                    <a:pt x="134" y="27"/>
                  </a:lnTo>
                  <a:lnTo>
                    <a:pt x="137" y="32"/>
                  </a:lnTo>
                  <a:lnTo>
                    <a:pt x="141" y="45"/>
                  </a:lnTo>
                  <a:lnTo>
                    <a:pt x="144" y="57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4" y="78"/>
                  </a:lnTo>
                  <a:lnTo>
                    <a:pt x="143" y="86"/>
                  </a:lnTo>
                  <a:lnTo>
                    <a:pt x="141" y="94"/>
                  </a:lnTo>
                  <a:lnTo>
                    <a:pt x="139" y="101"/>
                  </a:lnTo>
                  <a:lnTo>
                    <a:pt x="136" y="107"/>
                  </a:lnTo>
                  <a:lnTo>
                    <a:pt x="133" y="112"/>
                  </a:lnTo>
                  <a:lnTo>
                    <a:pt x="129" y="118"/>
                  </a:lnTo>
                  <a:lnTo>
                    <a:pt x="124" y="123"/>
                  </a:lnTo>
                  <a:lnTo>
                    <a:pt x="119" y="127"/>
                  </a:lnTo>
                  <a:lnTo>
                    <a:pt x="114" y="130"/>
                  </a:lnTo>
                  <a:lnTo>
                    <a:pt x="108" y="133"/>
                  </a:lnTo>
                  <a:lnTo>
                    <a:pt x="101" y="136"/>
                  </a:lnTo>
                  <a:lnTo>
                    <a:pt x="95" y="137"/>
                  </a:lnTo>
                  <a:lnTo>
                    <a:pt x="87" y="139"/>
                  </a:lnTo>
                  <a:lnTo>
                    <a:pt x="71" y="140"/>
                  </a:lnTo>
                  <a:lnTo>
                    <a:pt x="46" y="140"/>
                  </a:lnTo>
                  <a:lnTo>
                    <a:pt x="46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6" y="105"/>
                  </a:moveTo>
                  <a:lnTo>
                    <a:pt x="67" y="105"/>
                  </a:lnTo>
                  <a:lnTo>
                    <a:pt x="67" y="105"/>
                  </a:lnTo>
                  <a:lnTo>
                    <a:pt x="74" y="104"/>
                  </a:lnTo>
                  <a:lnTo>
                    <a:pt x="80" y="103"/>
                  </a:lnTo>
                  <a:lnTo>
                    <a:pt x="85" y="100"/>
                  </a:lnTo>
                  <a:lnTo>
                    <a:pt x="90" y="96"/>
                  </a:lnTo>
                  <a:lnTo>
                    <a:pt x="93" y="92"/>
                  </a:lnTo>
                  <a:lnTo>
                    <a:pt x="96" y="86"/>
                  </a:lnTo>
                  <a:lnTo>
                    <a:pt x="98" y="79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62"/>
                  </a:lnTo>
                  <a:lnTo>
                    <a:pt x="97" y="55"/>
                  </a:lnTo>
                  <a:lnTo>
                    <a:pt x="94" y="49"/>
                  </a:lnTo>
                  <a:lnTo>
                    <a:pt x="91" y="44"/>
                  </a:lnTo>
                  <a:lnTo>
                    <a:pt x="87" y="40"/>
                  </a:lnTo>
                  <a:lnTo>
                    <a:pt x="81" y="37"/>
                  </a:lnTo>
                  <a:lnTo>
                    <a:pt x="74" y="35"/>
                  </a:lnTo>
                  <a:lnTo>
                    <a:pt x="65" y="34"/>
                  </a:lnTo>
                  <a:lnTo>
                    <a:pt x="46" y="34"/>
                  </a:lnTo>
                  <a:lnTo>
                    <a:pt x="46" y="105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8188325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FFCC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8315325" y="4805363"/>
              <a:ext cx="82550" cy="123825"/>
            </a:xfrm>
            <a:custGeom>
              <a:avLst/>
              <a:gdLst>
                <a:gd name="T0" fmla="*/ 87 w 157"/>
                <a:gd name="T1" fmla="*/ 0 h 232"/>
                <a:gd name="T2" fmla="*/ 101 w 157"/>
                <a:gd name="T3" fmla="*/ 1 h 232"/>
                <a:gd name="T4" fmla="*/ 124 w 157"/>
                <a:gd name="T5" fmla="*/ 9 h 232"/>
                <a:gd name="T6" fmla="*/ 132 w 157"/>
                <a:gd name="T7" fmla="*/ 15 h 232"/>
                <a:gd name="T8" fmla="*/ 139 w 157"/>
                <a:gd name="T9" fmla="*/ 23 h 232"/>
                <a:gd name="T10" fmla="*/ 144 w 157"/>
                <a:gd name="T11" fmla="*/ 33 h 232"/>
                <a:gd name="T12" fmla="*/ 147 w 157"/>
                <a:gd name="T13" fmla="*/ 46 h 232"/>
                <a:gd name="T14" fmla="*/ 149 w 157"/>
                <a:gd name="T15" fmla="*/ 60 h 232"/>
                <a:gd name="T16" fmla="*/ 146 w 157"/>
                <a:gd name="T17" fmla="*/ 81 h 232"/>
                <a:gd name="T18" fmla="*/ 139 w 157"/>
                <a:gd name="T19" fmla="*/ 98 h 232"/>
                <a:gd name="T20" fmla="*/ 127 w 157"/>
                <a:gd name="T21" fmla="*/ 110 h 232"/>
                <a:gd name="T22" fmla="*/ 110 w 157"/>
                <a:gd name="T23" fmla="*/ 118 h 232"/>
                <a:gd name="T24" fmla="*/ 110 w 157"/>
                <a:gd name="T25" fmla="*/ 118 h 232"/>
                <a:gd name="T26" fmla="*/ 129 w 157"/>
                <a:gd name="T27" fmla="*/ 124 h 232"/>
                <a:gd name="T28" fmla="*/ 136 w 157"/>
                <a:gd name="T29" fmla="*/ 129 h 232"/>
                <a:gd name="T30" fmla="*/ 140 w 157"/>
                <a:gd name="T31" fmla="*/ 137 h 232"/>
                <a:gd name="T32" fmla="*/ 146 w 157"/>
                <a:gd name="T33" fmla="*/ 157 h 232"/>
                <a:gd name="T34" fmla="*/ 147 w 157"/>
                <a:gd name="T35" fmla="*/ 188 h 232"/>
                <a:gd name="T36" fmla="*/ 148 w 157"/>
                <a:gd name="T37" fmla="*/ 205 h 232"/>
                <a:gd name="T38" fmla="*/ 151 w 157"/>
                <a:gd name="T39" fmla="*/ 221 h 232"/>
                <a:gd name="T40" fmla="*/ 155 w 157"/>
                <a:gd name="T41" fmla="*/ 228 h 232"/>
                <a:gd name="T42" fmla="*/ 157 w 157"/>
                <a:gd name="T43" fmla="*/ 232 h 232"/>
                <a:gd name="T44" fmla="*/ 108 w 157"/>
                <a:gd name="T45" fmla="*/ 232 h 232"/>
                <a:gd name="T46" fmla="*/ 103 w 157"/>
                <a:gd name="T47" fmla="*/ 221 h 232"/>
                <a:gd name="T48" fmla="*/ 102 w 157"/>
                <a:gd name="T49" fmla="*/ 208 h 232"/>
                <a:gd name="T50" fmla="*/ 100 w 157"/>
                <a:gd name="T51" fmla="*/ 163 h 232"/>
                <a:gd name="T52" fmla="*/ 99 w 157"/>
                <a:gd name="T53" fmla="*/ 151 h 232"/>
                <a:gd name="T54" fmla="*/ 94 w 157"/>
                <a:gd name="T55" fmla="*/ 142 h 232"/>
                <a:gd name="T56" fmla="*/ 84 w 157"/>
                <a:gd name="T57" fmla="*/ 136 h 232"/>
                <a:gd name="T58" fmla="*/ 72 w 157"/>
                <a:gd name="T59" fmla="*/ 134 h 232"/>
                <a:gd name="T60" fmla="*/ 48 w 157"/>
                <a:gd name="T61" fmla="*/ 232 h 232"/>
                <a:gd name="T62" fmla="*/ 0 w 157"/>
                <a:gd name="T63" fmla="*/ 0 h 232"/>
                <a:gd name="T64" fmla="*/ 67 w 157"/>
                <a:gd name="T65" fmla="*/ 101 h 232"/>
                <a:gd name="T66" fmla="*/ 75 w 157"/>
                <a:gd name="T67" fmla="*/ 101 h 232"/>
                <a:gd name="T68" fmla="*/ 87 w 157"/>
                <a:gd name="T69" fmla="*/ 97 h 232"/>
                <a:gd name="T70" fmla="*/ 97 w 157"/>
                <a:gd name="T71" fmla="*/ 89 h 232"/>
                <a:gd name="T72" fmla="*/ 102 w 157"/>
                <a:gd name="T73" fmla="*/ 75 h 232"/>
                <a:gd name="T74" fmla="*/ 102 w 157"/>
                <a:gd name="T75" fmla="*/ 67 h 232"/>
                <a:gd name="T76" fmla="*/ 100 w 157"/>
                <a:gd name="T77" fmla="*/ 53 h 232"/>
                <a:gd name="T78" fmla="*/ 94 w 157"/>
                <a:gd name="T79" fmla="*/ 43 h 232"/>
                <a:gd name="T80" fmla="*/ 83 w 157"/>
                <a:gd name="T81" fmla="*/ 37 h 232"/>
                <a:gd name="T82" fmla="*/ 69 w 157"/>
                <a:gd name="T83" fmla="*/ 34 h 232"/>
                <a:gd name="T84" fmla="*/ 48 w 157"/>
                <a:gd name="T85" fmla="*/ 10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7" h="232">
                  <a:moveTo>
                    <a:pt x="0" y="0"/>
                  </a:moveTo>
                  <a:lnTo>
                    <a:pt x="87" y="0"/>
                  </a:lnTo>
                  <a:lnTo>
                    <a:pt x="87" y="0"/>
                  </a:lnTo>
                  <a:lnTo>
                    <a:pt x="101" y="1"/>
                  </a:lnTo>
                  <a:lnTo>
                    <a:pt x="113" y="4"/>
                  </a:lnTo>
                  <a:lnTo>
                    <a:pt x="124" y="9"/>
                  </a:lnTo>
                  <a:lnTo>
                    <a:pt x="128" y="12"/>
                  </a:lnTo>
                  <a:lnTo>
                    <a:pt x="132" y="15"/>
                  </a:lnTo>
                  <a:lnTo>
                    <a:pt x="136" y="19"/>
                  </a:lnTo>
                  <a:lnTo>
                    <a:pt x="139" y="23"/>
                  </a:lnTo>
                  <a:lnTo>
                    <a:pt x="142" y="28"/>
                  </a:lnTo>
                  <a:lnTo>
                    <a:pt x="144" y="33"/>
                  </a:lnTo>
                  <a:lnTo>
                    <a:pt x="146" y="40"/>
                  </a:lnTo>
                  <a:lnTo>
                    <a:pt x="147" y="46"/>
                  </a:lnTo>
                  <a:lnTo>
                    <a:pt x="149" y="60"/>
                  </a:lnTo>
                  <a:lnTo>
                    <a:pt x="149" y="60"/>
                  </a:lnTo>
                  <a:lnTo>
                    <a:pt x="148" y="71"/>
                  </a:lnTo>
                  <a:lnTo>
                    <a:pt x="146" y="81"/>
                  </a:lnTo>
                  <a:lnTo>
                    <a:pt x="143" y="90"/>
                  </a:lnTo>
                  <a:lnTo>
                    <a:pt x="139" y="98"/>
                  </a:lnTo>
                  <a:lnTo>
                    <a:pt x="134" y="104"/>
                  </a:lnTo>
                  <a:lnTo>
                    <a:pt x="127" y="110"/>
                  </a:lnTo>
                  <a:lnTo>
                    <a:pt x="119" y="114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10" y="118"/>
                  </a:lnTo>
                  <a:lnTo>
                    <a:pt x="121" y="120"/>
                  </a:lnTo>
                  <a:lnTo>
                    <a:pt x="129" y="124"/>
                  </a:lnTo>
                  <a:lnTo>
                    <a:pt x="133" y="126"/>
                  </a:lnTo>
                  <a:lnTo>
                    <a:pt x="136" y="129"/>
                  </a:lnTo>
                  <a:lnTo>
                    <a:pt x="138" y="133"/>
                  </a:lnTo>
                  <a:lnTo>
                    <a:pt x="140" y="137"/>
                  </a:lnTo>
                  <a:lnTo>
                    <a:pt x="144" y="146"/>
                  </a:lnTo>
                  <a:lnTo>
                    <a:pt x="146" y="157"/>
                  </a:lnTo>
                  <a:lnTo>
                    <a:pt x="147" y="171"/>
                  </a:lnTo>
                  <a:lnTo>
                    <a:pt x="147" y="188"/>
                  </a:lnTo>
                  <a:lnTo>
                    <a:pt x="147" y="188"/>
                  </a:lnTo>
                  <a:lnTo>
                    <a:pt x="148" y="205"/>
                  </a:lnTo>
                  <a:lnTo>
                    <a:pt x="149" y="217"/>
                  </a:lnTo>
                  <a:lnTo>
                    <a:pt x="151" y="221"/>
                  </a:lnTo>
                  <a:lnTo>
                    <a:pt x="152" y="225"/>
                  </a:lnTo>
                  <a:lnTo>
                    <a:pt x="155" y="228"/>
                  </a:lnTo>
                  <a:lnTo>
                    <a:pt x="157" y="230"/>
                  </a:lnTo>
                  <a:lnTo>
                    <a:pt x="157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5" y="227"/>
                  </a:lnTo>
                  <a:lnTo>
                    <a:pt x="103" y="221"/>
                  </a:lnTo>
                  <a:lnTo>
                    <a:pt x="102" y="215"/>
                  </a:lnTo>
                  <a:lnTo>
                    <a:pt x="102" y="208"/>
                  </a:lnTo>
                  <a:lnTo>
                    <a:pt x="100" y="163"/>
                  </a:lnTo>
                  <a:lnTo>
                    <a:pt x="100" y="163"/>
                  </a:lnTo>
                  <a:lnTo>
                    <a:pt x="100" y="157"/>
                  </a:lnTo>
                  <a:lnTo>
                    <a:pt x="99" y="151"/>
                  </a:lnTo>
                  <a:lnTo>
                    <a:pt x="96" y="146"/>
                  </a:lnTo>
                  <a:lnTo>
                    <a:pt x="94" y="142"/>
                  </a:lnTo>
                  <a:lnTo>
                    <a:pt x="89" y="139"/>
                  </a:lnTo>
                  <a:lnTo>
                    <a:pt x="84" y="136"/>
                  </a:lnTo>
                  <a:lnTo>
                    <a:pt x="79" y="135"/>
                  </a:lnTo>
                  <a:lnTo>
                    <a:pt x="72" y="134"/>
                  </a:lnTo>
                  <a:lnTo>
                    <a:pt x="48" y="134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0" y="0"/>
                  </a:lnTo>
                  <a:close/>
                  <a:moveTo>
                    <a:pt x="48" y="101"/>
                  </a:moveTo>
                  <a:lnTo>
                    <a:pt x="67" y="101"/>
                  </a:lnTo>
                  <a:lnTo>
                    <a:pt x="67" y="101"/>
                  </a:lnTo>
                  <a:lnTo>
                    <a:pt x="75" y="101"/>
                  </a:lnTo>
                  <a:lnTo>
                    <a:pt x="82" y="99"/>
                  </a:lnTo>
                  <a:lnTo>
                    <a:pt x="87" y="97"/>
                  </a:lnTo>
                  <a:lnTo>
                    <a:pt x="92" y="93"/>
                  </a:lnTo>
                  <a:lnTo>
                    <a:pt x="97" y="89"/>
                  </a:lnTo>
                  <a:lnTo>
                    <a:pt x="100" y="83"/>
                  </a:lnTo>
                  <a:lnTo>
                    <a:pt x="102" y="75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2" y="59"/>
                  </a:lnTo>
                  <a:lnTo>
                    <a:pt x="100" y="53"/>
                  </a:lnTo>
                  <a:lnTo>
                    <a:pt x="98" y="48"/>
                  </a:lnTo>
                  <a:lnTo>
                    <a:pt x="94" y="43"/>
                  </a:lnTo>
                  <a:lnTo>
                    <a:pt x="89" y="40"/>
                  </a:lnTo>
                  <a:lnTo>
                    <a:pt x="83" y="37"/>
                  </a:lnTo>
                  <a:lnTo>
                    <a:pt x="77" y="35"/>
                  </a:lnTo>
                  <a:lnTo>
                    <a:pt x="69" y="34"/>
                  </a:lnTo>
                  <a:lnTo>
                    <a:pt x="48" y="34"/>
                  </a:lnTo>
                  <a:lnTo>
                    <a:pt x="48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8413750" y="4805363"/>
              <a:ext cx="69850" cy="123825"/>
            </a:xfrm>
            <a:custGeom>
              <a:avLst/>
              <a:gdLst>
                <a:gd name="T0" fmla="*/ 129 w 132"/>
                <a:gd name="T1" fmla="*/ 0 h 232"/>
                <a:gd name="T2" fmla="*/ 129 w 132"/>
                <a:gd name="T3" fmla="*/ 39 h 232"/>
                <a:gd name="T4" fmla="*/ 46 w 132"/>
                <a:gd name="T5" fmla="*/ 39 h 232"/>
                <a:gd name="T6" fmla="*/ 46 w 132"/>
                <a:gd name="T7" fmla="*/ 93 h 232"/>
                <a:gd name="T8" fmla="*/ 124 w 132"/>
                <a:gd name="T9" fmla="*/ 93 h 232"/>
                <a:gd name="T10" fmla="*/ 124 w 132"/>
                <a:gd name="T11" fmla="*/ 132 h 232"/>
                <a:gd name="T12" fmla="*/ 46 w 132"/>
                <a:gd name="T13" fmla="*/ 132 h 232"/>
                <a:gd name="T14" fmla="*/ 46 w 132"/>
                <a:gd name="T15" fmla="*/ 193 h 232"/>
                <a:gd name="T16" fmla="*/ 132 w 132"/>
                <a:gd name="T17" fmla="*/ 193 h 232"/>
                <a:gd name="T18" fmla="*/ 132 w 132"/>
                <a:gd name="T19" fmla="*/ 232 h 232"/>
                <a:gd name="T20" fmla="*/ 0 w 132"/>
                <a:gd name="T21" fmla="*/ 232 h 232"/>
                <a:gd name="T22" fmla="*/ 0 w 132"/>
                <a:gd name="T23" fmla="*/ 0 h 232"/>
                <a:gd name="T24" fmla="*/ 129 w 132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232">
                  <a:moveTo>
                    <a:pt x="129" y="0"/>
                  </a:moveTo>
                  <a:lnTo>
                    <a:pt x="129" y="39"/>
                  </a:lnTo>
                  <a:lnTo>
                    <a:pt x="46" y="39"/>
                  </a:lnTo>
                  <a:lnTo>
                    <a:pt x="46" y="93"/>
                  </a:lnTo>
                  <a:lnTo>
                    <a:pt x="124" y="93"/>
                  </a:lnTo>
                  <a:lnTo>
                    <a:pt x="124" y="132"/>
                  </a:lnTo>
                  <a:lnTo>
                    <a:pt x="46" y="132"/>
                  </a:lnTo>
                  <a:lnTo>
                    <a:pt x="46" y="193"/>
                  </a:lnTo>
                  <a:lnTo>
                    <a:pt x="132" y="193"/>
                  </a:lnTo>
                  <a:lnTo>
                    <a:pt x="132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13"/>
            <p:cNvSpPr>
              <a:spLocks/>
            </p:cNvSpPr>
            <p:nvPr userDrawn="1"/>
          </p:nvSpPr>
          <p:spPr bwMode="auto">
            <a:xfrm>
              <a:off x="8497888" y="4805363"/>
              <a:ext cx="80963" cy="123825"/>
            </a:xfrm>
            <a:custGeom>
              <a:avLst/>
              <a:gdLst>
                <a:gd name="T0" fmla="*/ 54 w 154"/>
                <a:gd name="T1" fmla="*/ 0 h 232"/>
                <a:gd name="T2" fmla="*/ 111 w 154"/>
                <a:gd name="T3" fmla="*/ 159 h 232"/>
                <a:gd name="T4" fmla="*/ 112 w 154"/>
                <a:gd name="T5" fmla="*/ 159 h 232"/>
                <a:gd name="T6" fmla="*/ 112 w 154"/>
                <a:gd name="T7" fmla="*/ 0 h 232"/>
                <a:gd name="T8" fmla="*/ 154 w 154"/>
                <a:gd name="T9" fmla="*/ 0 h 232"/>
                <a:gd name="T10" fmla="*/ 154 w 154"/>
                <a:gd name="T11" fmla="*/ 232 h 232"/>
                <a:gd name="T12" fmla="*/ 102 w 154"/>
                <a:gd name="T13" fmla="*/ 232 h 232"/>
                <a:gd name="T14" fmla="*/ 44 w 154"/>
                <a:gd name="T15" fmla="*/ 70 h 232"/>
                <a:gd name="T16" fmla="*/ 44 w 154"/>
                <a:gd name="T17" fmla="*/ 70 h 232"/>
                <a:gd name="T18" fmla="*/ 44 w 154"/>
                <a:gd name="T19" fmla="*/ 232 h 232"/>
                <a:gd name="T20" fmla="*/ 0 w 154"/>
                <a:gd name="T21" fmla="*/ 232 h 232"/>
                <a:gd name="T22" fmla="*/ 0 w 154"/>
                <a:gd name="T23" fmla="*/ 0 h 232"/>
                <a:gd name="T24" fmla="*/ 54 w 154"/>
                <a:gd name="T25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4" h="232">
                  <a:moveTo>
                    <a:pt x="54" y="0"/>
                  </a:moveTo>
                  <a:lnTo>
                    <a:pt x="111" y="159"/>
                  </a:lnTo>
                  <a:lnTo>
                    <a:pt x="112" y="159"/>
                  </a:lnTo>
                  <a:lnTo>
                    <a:pt x="112" y="0"/>
                  </a:lnTo>
                  <a:lnTo>
                    <a:pt x="154" y="0"/>
                  </a:lnTo>
                  <a:lnTo>
                    <a:pt x="154" y="232"/>
                  </a:lnTo>
                  <a:lnTo>
                    <a:pt x="102" y="232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4" y="232"/>
                  </a:lnTo>
                  <a:lnTo>
                    <a:pt x="0" y="232"/>
                  </a:lnTo>
                  <a:lnTo>
                    <a:pt x="0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14"/>
            <p:cNvSpPr>
              <a:spLocks noEditPoints="1"/>
            </p:cNvSpPr>
            <p:nvPr userDrawn="1"/>
          </p:nvSpPr>
          <p:spPr bwMode="auto">
            <a:xfrm>
              <a:off x="8589963" y="4805363"/>
              <a:ext cx="95250" cy="123825"/>
            </a:xfrm>
            <a:custGeom>
              <a:avLst/>
              <a:gdLst>
                <a:gd name="T0" fmla="*/ 61 w 180"/>
                <a:gd name="T1" fmla="*/ 0 h 232"/>
                <a:gd name="T2" fmla="*/ 119 w 180"/>
                <a:gd name="T3" fmla="*/ 0 h 232"/>
                <a:gd name="T4" fmla="*/ 180 w 180"/>
                <a:gd name="T5" fmla="*/ 232 h 232"/>
                <a:gd name="T6" fmla="*/ 131 w 180"/>
                <a:gd name="T7" fmla="*/ 232 h 232"/>
                <a:gd name="T8" fmla="*/ 121 w 180"/>
                <a:gd name="T9" fmla="*/ 183 h 232"/>
                <a:gd name="T10" fmla="*/ 59 w 180"/>
                <a:gd name="T11" fmla="*/ 183 h 232"/>
                <a:gd name="T12" fmla="*/ 48 w 180"/>
                <a:gd name="T13" fmla="*/ 232 h 232"/>
                <a:gd name="T14" fmla="*/ 0 w 180"/>
                <a:gd name="T15" fmla="*/ 232 h 232"/>
                <a:gd name="T16" fmla="*/ 61 w 180"/>
                <a:gd name="T17" fmla="*/ 0 h 232"/>
                <a:gd name="T18" fmla="*/ 67 w 180"/>
                <a:gd name="T19" fmla="*/ 145 h 232"/>
                <a:gd name="T20" fmla="*/ 113 w 180"/>
                <a:gd name="T21" fmla="*/ 145 h 232"/>
                <a:gd name="T22" fmla="*/ 90 w 180"/>
                <a:gd name="T23" fmla="*/ 41 h 232"/>
                <a:gd name="T24" fmla="*/ 90 w 180"/>
                <a:gd name="T25" fmla="*/ 41 h 232"/>
                <a:gd name="T26" fmla="*/ 67 w 180"/>
                <a:gd name="T27" fmla="*/ 145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0" h="232">
                  <a:moveTo>
                    <a:pt x="61" y="0"/>
                  </a:moveTo>
                  <a:lnTo>
                    <a:pt x="119" y="0"/>
                  </a:lnTo>
                  <a:lnTo>
                    <a:pt x="180" y="232"/>
                  </a:lnTo>
                  <a:lnTo>
                    <a:pt x="131" y="232"/>
                  </a:lnTo>
                  <a:lnTo>
                    <a:pt x="121" y="183"/>
                  </a:lnTo>
                  <a:lnTo>
                    <a:pt x="59" y="183"/>
                  </a:lnTo>
                  <a:lnTo>
                    <a:pt x="48" y="232"/>
                  </a:lnTo>
                  <a:lnTo>
                    <a:pt x="0" y="232"/>
                  </a:lnTo>
                  <a:lnTo>
                    <a:pt x="61" y="0"/>
                  </a:lnTo>
                  <a:close/>
                  <a:moveTo>
                    <a:pt x="67" y="145"/>
                  </a:moveTo>
                  <a:lnTo>
                    <a:pt x="113" y="145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67" y="14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15"/>
            <p:cNvSpPr>
              <a:spLocks/>
            </p:cNvSpPr>
            <p:nvPr userDrawn="1"/>
          </p:nvSpPr>
          <p:spPr bwMode="auto">
            <a:xfrm>
              <a:off x="8691563" y="4805363"/>
              <a:ext cx="77788" cy="125413"/>
            </a:xfrm>
            <a:custGeom>
              <a:avLst/>
              <a:gdLst>
                <a:gd name="T0" fmla="*/ 46 w 148"/>
                <a:gd name="T1" fmla="*/ 0 h 236"/>
                <a:gd name="T2" fmla="*/ 46 w 148"/>
                <a:gd name="T3" fmla="*/ 162 h 236"/>
                <a:gd name="T4" fmla="*/ 46 w 148"/>
                <a:gd name="T5" fmla="*/ 162 h 236"/>
                <a:gd name="T6" fmla="*/ 47 w 148"/>
                <a:gd name="T7" fmla="*/ 170 h 236"/>
                <a:gd name="T8" fmla="*/ 48 w 148"/>
                <a:gd name="T9" fmla="*/ 178 h 236"/>
                <a:gd name="T10" fmla="*/ 49 w 148"/>
                <a:gd name="T11" fmla="*/ 184 h 236"/>
                <a:gd name="T12" fmla="*/ 52 w 148"/>
                <a:gd name="T13" fmla="*/ 190 h 236"/>
                <a:gd name="T14" fmla="*/ 55 w 148"/>
                <a:gd name="T15" fmla="*/ 195 h 236"/>
                <a:gd name="T16" fmla="*/ 60 w 148"/>
                <a:gd name="T17" fmla="*/ 199 h 236"/>
                <a:gd name="T18" fmla="*/ 67 w 148"/>
                <a:gd name="T19" fmla="*/ 202 h 236"/>
                <a:gd name="T20" fmla="*/ 74 w 148"/>
                <a:gd name="T21" fmla="*/ 202 h 236"/>
                <a:gd name="T22" fmla="*/ 74 w 148"/>
                <a:gd name="T23" fmla="*/ 202 h 236"/>
                <a:gd name="T24" fmla="*/ 82 w 148"/>
                <a:gd name="T25" fmla="*/ 202 h 236"/>
                <a:gd name="T26" fmla="*/ 88 w 148"/>
                <a:gd name="T27" fmla="*/ 199 h 236"/>
                <a:gd name="T28" fmla="*/ 92 w 148"/>
                <a:gd name="T29" fmla="*/ 195 h 236"/>
                <a:gd name="T30" fmla="*/ 96 w 148"/>
                <a:gd name="T31" fmla="*/ 190 h 236"/>
                <a:gd name="T32" fmla="*/ 98 w 148"/>
                <a:gd name="T33" fmla="*/ 184 h 236"/>
                <a:gd name="T34" fmla="*/ 100 w 148"/>
                <a:gd name="T35" fmla="*/ 178 h 236"/>
                <a:gd name="T36" fmla="*/ 101 w 148"/>
                <a:gd name="T37" fmla="*/ 170 h 236"/>
                <a:gd name="T38" fmla="*/ 101 w 148"/>
                <a:gd name="T39" fmla="*/ 162 h 236"/>
                <a:gd name="T40" fmla="*/ 101 w 148"/>
                <a:gd name="T41" fmla="*/ 0 h 236"/>
                <a:gd name="T42" fmla="*/ 148 w 148"/>
                <a:gd name="T43" fmla="*/ 0 h 236"/>
                <a:gd name="T44" fmla="*/ 148 w 148"/>
                <a:gd name="T45" fmla="*/ 162 h 236"/>
                <a:gd name="T46" fmla="*/ 148 w 148"/>
                <a:gd name="T47" fmla="*/ 162 h 236"/>
                <a:gd name="T48" fmla="*/ 148 w 148"/>
                <a:gd name="T49" fmla="*/ 172 h 236"/>
                <a:gd name="T50" fmla="*/ 147 w 148"/>
                <a:gd name="T51" fmla="*/ 182 h 236"/>
                <a:gd name="T52" fmla="*/ 144 w 148"/>
                <a:gd name="T53" fmla="*/ 190 h 236"/>
                <a:gd name="T54" fmla="*/ 141 w 148"/>
                <a:gd name="T55" fmla="*/ 199 h 236"/>
                <a:gd name="T56" fmla="*/ 138 w 148"/>
                <a:gd name="T57" fmla="*/ 206 h 236"/>
                <a:gd name="T58" fmla="*/ 134 w 148"/>
                <a:gd name="T59" fmla="*/ 212 h 236"/>
                <a:gd name="T60" fmla="*/ 130 w 148"/>
                <a:gd name="T61" fmla="*/ 217 h 236"/>
                <a:gd name="T62" fmla="*/ 125 w 148"/>
                <a:gd name="T63" fmla="*/ 221 h 236"/>
                <a:gd name="T64" fmla="*/ 120 w 148"/>
                <a:gd name="T65" fmla="*/ 225 h 236"/>
                <a:gd name="T66" fmla="*/ 114 w 148"/>
                <a:gd name="T67" fmla="*/ 228 h 236"/>
                <a:gd name="T68" fmla="*/ 108 w 148"/>
                <a:gd name="T69" fmla="*/ 231 h 236"/>
                <a:gd name="T70" fmla="*/ 102 w 148"/>
                <a:gd name="T71" fmla="*/ 233 h 236"/>
                <a:gd name="T72" fmla="*/ 88 w 148"/>
                <a:gd name="T73" fmla="*/ 236 h 236"/>
                <a:gd name="T74" fmla="*/ 74 w 148"/>
                <a:gd name="T75" fmla="*/ 236 h 236"/>
                <a:gd name="T76" fmla="*/ 74 w 148"/>
                <a:gd name="T77" fmla="*/ 236 h 236"/>
                <a:gd name="T78" fmla="*/ 59 w 148"/>
                <a:gd name="T79" fmla="*/ 236 h 236"/>
                <a:gd name="T80" fmla="*/ 46 w 148"/>
                <a:gd name="T81" fmla="*/ 234 h 236"/>
                <a:gd name="T82" fmla="*/ 40 w 148"/>
                <a:gd name="T83" fmla="*/ 232 h 236"/>
                <a:gd name="T84" fmla="*/ 34 w 148"/>
                <a:gd name="T85" fmla="*/ 229 h 236"/>
                <a:gd name="T86" fmla="*/ 28 w 148"/>
                <a:gd name="T87" fmla="*/ 226 h 236"/>
                <a:gd name="T88" fmla="*/ 23 w 148"/>
                <a:gd name="T89" fmla="*/ 223 h 236"/>
                <a:gd name="T90" fmla="*/ 18 w 148"/>
                <a:gd name="T91" fmla="*/ 218 h 236"/>
                <a:gd name="T92" fmla="*/ 14 w 148"/>
                <a:gd name="T93" fmla="*/ 213 h 236"/>
                <a:gd name="T94" fmla="*/ 10 w 148"/>
                <a:gd name="T95" fmla="*/ 207 h 236"/>
                <a:gd name="T96" fmla="*/ 6 w 148"/>
                <a:gd name="T97" fmla="*/ 200 h 236"/>
                <a:gd name="T98" fmla="*/ 4 w 148"/>
                <a:gd name="T99" fmla="*/ 191 h 236"/>
                <a:gd name="T100" fmla="*/ 2 w 148"/>
                <a:gd name="T101" fmla="*/ 182 h 236"/>
                <a:gd name="T102" fmla="*/ 1 w 148"/>
                <a:gd name="T103" fmla="*/ 173 h 236"/>
                <a:gd name="T104" fmla="*/ 0 w 148"/>
                <a:gd name="T105" fmla="*/ 162 h 236"/>
                <a:gd name="T106" fmla="*/ 0 w 148"/>
                <a:gd name="T107" fmla="*/ 0 h 236"/>
                <a:gd name="T108" fmla="*/ 46 w 148"/>
                <a:gd name="T109" fmla="*/ 0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8" h="236">
                  <a:moveTo>
                    <a:pt x="46" y="0"/>
                  </a:moveTo>
                  <a:lnTo>
                    <a:pt x="46" y="162"/>
                  </a:lnTo>
                  <a:lnTo>
                    <a:pt x="46" y="162"/>
                  </a:lnTo>
                  <a:lnTo>
                    <a:pt x="47" y="170"/>
                  </a:lnTo>
                  <a:lnTo>
                    <a:pt x="48" y="178"/>
                  </a:lnTo>
                  <a:lnTo>
                    <a:pt x="49" y="184"/>
                  </a:lnTo>
                  <a:lnTo>
                    <a:pt x="52" y="190"/>
                  </a:lnTo>
                  <a:lnTo>
                    <a:pt x="55" y="195"/>
                  </a:lnTo>
                  <a:lnTo>
                    <a:pt x="60" y="199"/>
                  </a:lnTo>
                  <a:lnTo>
                    <a:pt x="67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82" y="202"/>
                  </a:lnTo>
                  <a:lnTo>
                    <a:pt x="88" y="199"/>
                  </a:lnTo>
                  <a:lnTo>
                    <a:pt x="92" y="195"/>
                  </a:lnTo>
                  <a:lnTo>
                    <a:pt x="96" y="190"/>
                  </a:lnTo>
                  <a:lnTo>
                    <a:pt x="98" y="184"/>
                  </a:lnTo>
                  <a:lnTo>
                    <a:pt x="100" y="178"/>
                  </a:lnTo>
                  <a:lnTo>
                    <a:pt x="101" y="170"/>
                  </a:lnTo>
                  <a:lnTo>
                    <a:pt x="101" y="162"/>
                  </a:lnTo>
                  <a:lnTo>
                    <a:pt x="101" y="0"/>
                  </a:lnTo>
                  <a:lnTo>
                    <a:pt x="148" y="0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8" y="172"/>
                  </a:lnTo>
                  <a:lnTo>
                    <a:pt x="147" y="182"/>
                  </a:lnTo>
                  <a:lnTo>
                    <a:pt x="144" y="190"/>
                  </a:lnTo>
                  <a:lnTo>
                    <a:pt x="141" y="199"/>
                  </a:lnTo>
                  <a:lnTo>
                    <a:pt x="138" y="206"/>
                  </a:lnTo>
                  <a:lnTo>
                    <a:pt x="134" y="212"/>
                  </a:lnTo>
                  <a:lnTo>
                    <a:pt x="130" y="217"/>
                  </a:lnTo>
                  <a:lnTo>
                    <a:pt x="125" y="221"/>
                  </a:lnTo>
                  <a:lnTo>
                    <a:pt x="120" y="225"/>
                  </a:lnTo>
                  <a:lnTo>
                    <a:pt x="114" y="228"/>
                  </a:lnTo>
                  <a:lnTo>
                    <a:pt x="108" y="231"/>
                  </a:lnTo>
                  <a:lnTo>
                    <a:pt x="102" y="233"/>
                  </a:lnTo>
                  <a:lnTo>
                    <a:pt x="88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59" y="236"/>
                  </a:lnTo>
                  <a:lnTo>
                    <a:pt x="46" y="234"/>
                  </a:lnTo>
                  <a:lnTo>
                    <a:pt x="40" y="232"/>
                  </a:lnTo>
                  <a:lnTo>
                    <a:pt x="34" y="229"/>
                  </a:lnTo>
                  <a:lnTo>
                    <a:pt x="28" y="226"/>
                  </a:lnTo>
                  <a:lnTo>
                    <a:pt x="23" y="223"/>
                  </a:lnTo>
                  <a:lnTo>
                    <a:pt x="18" y="218"/>
                  </a:lnTo>
                  <a:lnTo>
                    <a:pt x="14" y="213"/>
                  </a:lnTo>
                  <a:lnTo>
                    <a:pt x="10" y="207"/>
                  </a:lnTo>
                  <a:lnTo>
                    <a:pt x="6" y="200"/>
                  </a:lnTo>
                  <a:lnTo>
                    <a:pt x="4" y="191"/>
                  </a:lnTo>
                  <a:lnTo>
                    <a:pt x="2" y="182"/>
                  </a:lnTo>
                  <a:lnTo>
                    <a:pt x="1" y="173"/>
                  </a:lnTo>
                  <a:lnTo>
                    <a:pt x="0" y="162"/>
                  </a:ln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16"/>
            <p:cNvSpPr>
              <a:spLocks/>
            </p:cNvSpPr>
            <p:nvPr userDrawn="1"/>
          </p:nvSpPr>
          <p:spPr bwMode="auto">
            <a:xfrm>
              <a:off x="8789988" y="4805363"/>
              <a:ext cx="69850" cy="123825"/>
            </a:xfrm>
            <a:custGeom>
              <a:avLst/>
              <a:gdLst>
                <a:gd name="T0" fmla="*/ 0 w 130"/>
                <a:gd name="T1" fmla="*/ 232 h 232"/>
                <a:gd name="T2" fmla="*/ 0 w 130"/>
                <a:gd name="T3" fmla="*/ 0 h 232"/>
                <a:gd name="T4" fmla="*/ 47 w 130"/>
                <a:gd name="T5" fmla="*/ 0 h 232"/>
                <a:gd name="T6" fmla="*/ 47 w 130"/>
                <a:gd name="T7" fmla="*/ 193 h 232"/>
                <a:gd name="T8" fmla="*/ 130 w 130"/>
                <a:gd name="T9" fmla="*/ 193 h 232"/>
                <a:gd name="T10" fmla="*/ 130 w 130"/>
                <a:gd name="T11" fmla="*/ 232 h 232"/>
                <a:gd name="T12" fmla="*/ 0 w 130"/>
                <a:gd name="T13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" h="232">
                  <a:moveTo>
                    <a:pt x="0" y="232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93"/>
                  </a:lnTo>
                  <a:lnTo>
                    <a:pt x="130" y="193"/>
                  </a:lnTo>
                  <a:lnTo>
                    <a:pt x="130" y="232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17"/>
            <p:cNvSpPr>
              <a:spLocks/>
            </p:cNvSpPr>
            <p:nvPr userDrawn="1"/>
          </p:nvSpPr>
          <p:spPr bwMode="auto">
            <a:xfrm>
              <a:off x="8848725" y="4805363"/>
              <a:ext cx="77788" cy="123825"/>
            </a:xfrm>
            <a:custGeom>
              <a:avLst/>
              <a:gdLst>
                <a:gd name="T0" fmla="*/ 148 w 148"/>
                <a:gd name="T1" fmla="*/ 0 h 232"/>
                <a:gd name="T2" fmla="*/ 148 w 148"/>
                <a:gd name="T3" fmla="*/ 39 h 232"/>
                <a:gd name="T4" fmla="*/ 97 w 148"/>
                <a:gd name="T5" fmla="*/ 39 h 232"/>
                <a:gd name="T6" fmla="*/ 97 w 148"/>
                <a:gd name="T7" fmla="*/ 232 h 232"/>
                <a:gd name="T8" fmla="*/ 51 w 148"/>
                <a:gd name="T9" fmla="*/ 232 h 232"/>
                <a:gd name="T10" fmla="*/ 51 w 148"/>
                <a:gd name="T11" fmla="*/ 39 h 232"/>
                <a:gd name="T12" fmla="*/ 0 w 148"/>
                <a:gd name="T13" fmla="*/ 39 h 232"/>
                <a:gd name="T14" fmla="*/ 0 w 148"/>
                <a:gd name="T15" fmla="*/ 0 h 232"/>
                <a:gd name="T16" fmla="*/ 148 w 148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232">
                  <a:moveTo>
                    <a:pt x="148" y="0"/>
                  </a:moveTo>
                  <a:lnTo>
                    <a:pt x="148" y="39"/>
                  </a:lnTo>
                  <a:lnTo>
                    <a:pt x="97" y="39"/>
                  </a:lnTo>
                  <a:lnTo>
                    <a:pt x="97" y="232"/>
                  </a:lnTo>
                  <a:lnTo>
                    <a:pt x="51" y="232"/>
                  </a:lnTo>
                  <a:lnTo>
                    <a:pt x="51" y="39"/>
                  </a:lnTo>
                  <a:lnTo>
                    <a:pt x="0" y="39"/>
                  </a:lnTo>
                  <a:lnTo>
                    <a:pt x="0" y="0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4" name="Rectangle 6"/>
          <p:cNvSpPr>
            <a:spLocks noChangeArrowheads="1"/>
          </p:cNvSpPr>
          <p:nvPr userDrawn="1"/>
        </p:nvSpPr>
        <p:spPr bwMode="auto">
          <a:xfrm>
            <a:off x="6711842" y="6457427"/>
            <a:ext cx="348546" cy="14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fld id="{78210625-ECA7-4862-B00E-5DC0AA3A3D4E}" type="slidenum">
              <a:rPr sz="800" b="0" noProof="1">
                <a:solidFill>
                  <a:schemeClr val="tx1"/>
                </a:solidFill>
              </a:rPr>
              <a:pPr/>
              <a:t>‹N°›</a:t>
            </a:fld>
            <a:endParaRPr lang="fr-FR" sz="400" b="0" noProof="1">
              <a:solidFill>
                <a:schemeClr val="tx1"/>
              </a:solidFill>
            </a:endParaRPr>
          </a:p>
        </p:txBody>
      </p:sp>
      <p:cxnSp>
        <p:nvCxnSpPr>
          <p:cNvPr id="35" name="Connecteur droit 34"/>
          <p:cNvCxnSpPr/>
          <p:nvPr userDrawn="1"/>
        </p:nvCxnSpPr>
        <p:spPr>
          <a:xfrm>
            <a:off x="6611803" y="6366055"/>
            <a:ext cx="0" cy="216404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405933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="" xmlns:a16="http://schemas.microsoft.com/office/drawing/2014/main" id="{02B67DB0-700D-46BB-831A-C4075279A5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6099" y="6229812"/>
            <a:ext cx="2016324" cy="357856"/>
          </a:xfrm>
          <a:prstGeom prst="rect">
            <a:avLst/>
          </a:prstGeom>
        </p:spPr>
        <p:txBody>
          <a:bodyPr/>
          <a:lstStyle/>
          <a:p>
            <a:fld id="{BDA9B46E-A476-40B4-BBCB-14372ADE0437}" type="datetimeFigureOut">
              <a:rPr lang="fr-FR" smtClean="0"/>
              <a:t>01/11/2018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="" xmlns:a16="http://schemas.microsoft.com/office/drawing/2014/main" id="{594B4ECA-2672-4FAD-939A-059E318B49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8477" y="6229812"/>
            <a:ext cx="3024485" cy="357856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="" xmlns:a16="http://schemas.microsoft.com/office/drawing/2014/main" id="{296FCDD1-8A0E-4255-9AE9-4E5B8AD5E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329015" y="6229812"/>
            <a:ext cx="2016324" cy="357856"/>
          </a:xfrm>
          <a:prstGeom prst="rect">
            <a:avLst/>
          </a:prstGeom>
        </p:spPr>
        <p:txBody>
          <a:bodyPr/>
          <a:lstStyle/>
          <a:p>
            <a:fld id="{D80C08F4-D0C4-4EBB-9B92-B30D66C8678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65616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84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4" name="Rectangle 118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84375" y="498475"/>
            <a:ext cx="2846388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ja-JP" sz="900">
                <a:solidFill>
                  <a:srgbClr val="000000"/>
                </a:solidFill>
              </a:rPr>
              <a:t>Last Modified 2010/05/25 3:10:27 Tokyo Standard Time</a:t>
            </a: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84375" y="655638"/>
            <a:ext cx="2590800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ja-JP" sz="900">
                <a:solidFill>
                  <a:srgbClr val="000000"/>
                </a:solidFill>
              </a:rPr>
              <a:t>Printed 2010/05/24 16:08:07 Tokyo Standard Time</a:t>
            </a:r>
          </a:p>
        </p:txBody>
      </p:sp>
      <p:sp>
        <p:nvSpPr>
          <p:cNvPr id="7" name="Working Draft Tex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84375" y="342900"/>
            <a:ext cx="993775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ja-JP" sz="900" b="1">
                <a:solidFill>
                  <a:srgbClr val="000000"/>
                </a:solidFill>
              </a:rPr>
              <a:t>WORKING DRAFT</a:t>
            </a: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2640013" y="4930775"/>
            <a:ext cx="4972050" cy="1155700"/>
            <a:chOff x="1663" y="3106"/>
            <a:chExt cx="3132" cy="728"/>
          </a:xfrm>
        </p:grpSpPr>
        <p:sp>
          <p:nvSpPr>
            <p:cNvPr id="9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ja-JP" altLang="en-US" sz="1400">
                  <a:solidFill>
                    <a:srgbClr val="000000"/>
                  </a:solidFill>
                </a:rPr>
                <a:t>ドキュメント</a:t>
              </a:r>
              <a:endParaRPr lang="en-US" altLang="ja-JP" sz="1400">
                <a:solidFill>
                  <a:srgbClr val="000000"/>
                </a:solidFill>
              </a:endParaRP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ja-JP" altLang="en-US" sz="1400">
                  <a:solidFill>
                    <a:srgbClr val="000000"/>
                  </a:solidFill>
                </a:rPr>
                <a:t>日付</a:t>
              </a:r>
              <a:endParaRPr lang="en-US" altLang="ja-JP" sz="1400">
                <a:solidFill>
                  <a:srgbClr val="000000"/>
                </a:solidFill>
              </a:endParaRPr>
            </a:p>
          </p:txBody>
        </p:sp>
        <p:sp>
          <p:nvSpPr>
            <p:cNvPr id="11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680"/>
              <a:ext cx="3132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b">
              <a:spAutoFit/>
            </a:bodyPr>
            <a:lstStyle/>
            <a:p>
              <a:pPr defTabSz="798513"/>
              <a:r>
                <a:rPr lang="ja-JP" altLang="en-US" sz="800">
                  <a:solidFill>
                    <a:srgbClr val="000000"/>
                  </a:solidFill>
                  <a:latin typeface="Arial" pitchFamily="34" charset="0"/>
                </a:rPr>
                <a:t>機密・専有情報</a:t>
              </a:r>
              <a:endParaRPr lang="en-US" altLang="ja-JP" sz="800">
                <a:solidFill>
                  <a:srgbClr val="000000"/>
                </a:solidFill>
                <a:latin typeface="Arial" pitchFamily="34" charset="0"/>
              </a:endParaRPr>
            </a:p>
            <a:p>
              <a:pPr defTabSz="798513"/>
              <a:r>
                <a:rPr lang="ja-JP" altLang="en-US" sz="800">
                  <a:solidFill>
                    <a:srgbClr val="000000"/>
                  </a:solidFill>
                  <a:latin typeface="Arial" pitchFamily="34" charset="0"/>
                </a:rPr>
                <a:t>マッキンゼー・アンド・カンパニーによる個別の明示的な承諾を得ることなく、この資料を使用することを固く禁じます。　</a:t>
              </a:r>
              <a:endParaRPr lang="en-US" altLang="ja-JP" sz="8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sp>
        <p:nvSpPr>
          <p:cNvPr id="13" name="doc i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lvl1pPr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pic>
        <p:nvPicPr>
          <p:cNvPr id="14" name="Picture 15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6100" y="5592763"/>
            <a:ext cx="27987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52513"/>
            <a:ext cx="8961438" cy="360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017713" y="1961322"/>
            <a:ext cx="4935537" cy="1152939"/>
          </a:xfrm>
        </p:spPr>
        <p:txBody>
          <a:bodyPr/>
          <a:lstStyle>
            <a:lvl1pPr algn="ctr">
              <a:defRPr sz="3600" b="1"/>
            </a:lvl1pPr>
          </a:lstStyle>
          <a:p>
            <a:r>
              <a:rPr lang="en-US" altLang="ja-JP" dirty="0"/>
              <a:t>Project nam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280920" y="97565"/>
            <a:ext cx="6445995" cy="93871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1800" kern="0" dirty="0">
                <a:solidFill>
                  <a:srgbClr val="C00000"/>
                </a:solidFill>
              </a:rPr>
              <a:t>A</a:t>
            </a:r>
            <a:r>
              <a:rPr lang="en-US" altLang="ja-JP" sz="1800" kern="0" dirty="0">
                <a:solidFill>
                  <a:schemeClr val="tx1"/>
                </a:solidFill>
              </a:rPr>
              <a:t>lliance </a:t>
            </a:r>
            <a:r>
              <a:rPr lang="en-US" altLang="ja-JP" sz="1800" kern="0" dirty="0">
                <a:solidFill>
                  <a:srgbClr val="C00000"/>
                </a:solidFill>
              </a:rPr>
              <a:t>P</a:t>
            </a:r>
            <a:r>
              <a:rPr lang="en-US" altLang="ja-JP" sz="1800" kern="0" dirty="0">
                <a:solidFill>
                  <a:schemeClr val="tx1"/>
                </a:solidFill>
              </a:rPr>
              <a:t>roject </a:t>
            </a:r>
            <a:r>
              <a:rPr lang="en-US" altLang="ja-JP" sz="1800" kern="0" dirty="0">
                <a:solidFill>
                  <a:srgbClr val="C00000"/>
                </a:solidFill>
              </a:rPr>
              <a:t>M</a:t>
            </a:r>
            <a:r>
              <a:rPr lang="en-US" altLang="ja-JP" sz="1800" kern="0" dirty="0">
                <a:solidFill>
                  <a:schemeClr val="tx1"/>
                </a:solidFill>
              </a:rPr>
              <a:t>anagement </a:t>
            </a:r>
            <a:r>
              <a:rPr lang="en-US" altLang="ja-JP" sz="1800" kern="0" dirty="0">
                <a:solidFill>
                  <a:srgbClr val="C00000"/>
                </a:solidFill>
              </a:rPr>
              <a:t>M</a:t>
            </a:r>
            <a:r>
              <a:rPr lang="en-US" altLang="ja-JP" sz="1800" kern="0" dirty="0">
                <a:solidFill>
                  <a:schemeClr val="tx1"/>
                </a:solidFill>
              </a:rPr>
              <a:t>ethod</a:t>
            </a:r>
            <a:endParaRPr lang="en-US" altLang="ja-JP" sz="2000" kern="0" dirty="0">
              <a:solidFill>
                <a:schemeClr val="tx1"/>
              </a:solidFill>
            </a:endParaRPr>
          </a:p>
          <a:p>
            <a:pPr algn="ctr"/>
            <a:r>
              <a:rPr lang="en-US" altLang="ja-JP" sz="3200" b="1" kern="1200" dirty="0">
                <a:gradFill>
                  <a:gsLst>
                    <a:gs pos="0">
                      <a:srgbClr val="FF0000"/>
                    </a:gs>
                    <a:gs pos="74000">
                      <a:srgbClr val="FFC000"/>
                    </a:gs>
                    <a:gs pos="83000">
                      <a:srgbClr val="FFC000"/>
                    </a:gs>
                    <a:gs pos="100000">
                      <a:srgbClr val="FFFF00"/>
                    </a:gs>
                  </a:gsLst>
                  <a:lin ang="5400000" scaled="1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5000" endA="300" endPos="45500" dir="5400000" sy="-100000" algn="bl" rotWithShape="0"/>
                </a:effectLst>
                <a:latin typeface="+mj-lt"/>
                <a:ea typeface="Adobe Fan Heiti Std B" panose="020B0700000000000000" pitchFamily="34" charset="-128"/>
                <a:cs typeface="+mn-cs"/>
              </a:rPr>
              <a:t>Project Initiate Phase Document</a:t>
            </a:r>
            <a:endParaRPr lang="ja-JP" altLang="en-US" sz="3200" b="1" kern="1200" dirty="0">
              <a:gradFill>
                <a:gsLst>
                  <a:gs pos="0">
                    <a:srgbClr val="FF0000"/>
                  </a:gs>
                  <a:gs pos="74000">
                    <a:srgbClr val="FFC000"/>
                  </a:gs>
                  <a:gs pos="83000">
                    <a:srgbClr val="FFC000"/>
                  </a:gs>
                  <a:gs pos="100000">
                    <a:srgbClr val="FFFF00"/>
                  </a:gs>
                </a:gsLst>
                <a:lin ang="5400000" scaled="1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5000" endA="300" endPos="45500" dir="5400000" sy="-100000" algn="bl" rotWithShape="0"/>
              </a:effectLst>
              <a:latin typeface="+mj-lt"/>
              <a:ea typeface="Adobe Fan Heiti Std B" panose="020B0700000000000000" pitchFamily="34" charset="-128"/>
              <a:cs typeface="+mn-cs"/>
            </a:endParaRPr>
          </a:p>
        </p:txBody>
      </p:sp>
      <p:sp>
        <p:nvSpPr>
          <p:cNvPr id="3" name="Alliance_Labeling"/>
          <p:cNvSpPr txBox="1"/>
          <p:nvPr userDrawn="1"/>
        </p:nvSpPr>
        <p:spPr>
          <a:xfrm>
            <a:off x="6512143" y="6415509"/>
            <a:ext cx="1666657" cy="226591"/>
          </a:xfrm>
          <a:prstGeom prst="rect">
            <a:avLst/>
          </a:prstGeom>
          <a:solidFill>
            <a:srgbClr val="FFFFFF"/>
          </a:solidFill>
          <a:ln w="12700" cmpd="sng">
            <a:solidFill>
              <a:srgbClr val="000000"/>
            </a:solidFill>
          </a:ln>
        </p:spPr>
        <p:txBody>
          <a:bodyPr vert="horz" wrap="none" lIns="72000" tIns="36000" rIns="72000" bIns="3600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>
                <a:solidFill>
                  <a:srgbClr val="000000"/>
                </a:solidFill>
                <a:latin typeface="Verdana"/>
              </a:rPr>
              <a:t>Renault Nissan Internal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 hasCustomPrompt="1"/>
          </p:nvPr>
        </p:nvSpPr>
        <p:spPr>
          <a:xfrm>
            <a:off x="2017712" y="3657172"/>
            <a:ext cx="4935537" cy="914400"/>
          </a:xfrm>
        </p:spPr>
        <p:txBody>
          <a:bodyPr/>
          <a:lstStyle>
            <a:lvl1pPr marL="0" indent="0" algn="ctr">
              <a:buNone/>
              <a:defRPr sz="2000" b="0"/>
            </a:lvl1pPr>
          </a:lstStyle>
          <a:p>
            <a:pPr lvl="0"/>
            <a:r>
              <a:rPr lang="en-US" altLang="ja-JP" noProof="0" dirty="0"/>
              <a:t>Author of document</a:t>
            </a:r>
            <a:br>
              <a:rPr lang="en-US" altLang="ja-JP" noProof="0" dirty="0"/>
            </a:br>
            <a:r>
              <a:rPr lang="en-US" altLang="ja-JP" noProof="0" dirty="0" err="1"/>
              <a:t>yyyy</a:t>
            </a:r>
            <a:r>
              <a:rPr lang="en-US" altLang="ja-JP" noProof="0" dirty="0"/>
              <a:t>/mm/</a:t>
            </a:r>
            <a:r>
              <a:rPr lang="en-US" altLang="ja-JP" noProof="0" dirty="0" err="1"/>
              <a:t>dd</a:t>
            </a:r>
            <a:endParaRPr lang="ja-JP" altLang="en-US" noProof="0" dirty="0"/>
          </a:p>
        </p:txBody>
      </p:sp>
    </p:spTree>
    <p:extLst>
      <p:ext uri="{BB962C8B-B14F-4D97-AF65-F5344CB8AC3E}">
        <p14:creationId xmlns:p14="http://schemas.microsoft.com/office/powerpoint/2010/main" val="17055634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8575" y="6315075"/>
            <a:ext cx="1284288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マスタ タイトルの書式設定</a:t>
            </a:r>
            <a:endParaRPr lang="en-US" dirty="0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56212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/>
          <p:cNvSpPr>
            <a:spLocks noGrp="1"/>
          </p:cNvSpPr>
          <p:nvPr>
            <p:ph type="title"/>
          </p:nvPr>
        </p:nvSpPr>
        <p:spPr>
          <a:xfrm>
            <a:off x="176213" y="114300"/>
            <a:ext cx="8785225" cy="692150"/>
          </a:xfrm>
        </p:spPr>
        <p:txBody>
          <a:bodyPr/>
          <a:lstStyle/>
          <a:p>
            <a:r>
              <a:rPr lang="ja-JP" altLang="en-US" dirty="0"/>
              <a:t>マスタ タイトルの書式設定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259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4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324600"/>
            <a:ext cx="3151188" cy="2571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lliance Collaboration Platform  - Kick-off Seminar</a:t>
            </a:r>
          </a:p>
        </p:txBody>
      </p:sp>
      <p:sp>
        <p:nvSpPr>
          <p:cNvPr id="3" name="Rectangle 25"/>
          <p:cNvSpPr>
            <a:spLocks noGrp="1" noChangeArrowheads="1"/>
          </p:cNvSpPr>
          <p:nvPr>
            <p:ph type="dt" sz="half" idx="11"/>
          </p:nvPr>
        </p:nvSpPr>
        <p:spPr>
          <a:xfrm>
            <a:off x="6175375" y="6324600"/>
            <a:ext cx="2090738" cy="2397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eptember  2010</a:t>
            </a:r>
          </a:p>
        </p:txBody>
      </p:sp>
    </p:spTree>
    <p:extLst>
      <p:ext uri="{BB962C8B-B14F-4D97-AF65-F5344CB8AC3E}">
        <p14:creationId xmlns:p14="http://schemas.microsoft.com/office/powerpoint/2010/main" val="616820231"/>
      </p:ext>
    </p:extLst>
  </p:cSld>
  <p:clrMapOvr>
    <a:masterClrMapping/>
  </p:clrMapOvr>
  <p:transition spd="slow">
    <p:cover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>
          <a:xfrm>
            <a:off x="532086" y="1116829"/>
            <a:ext cx="7899956" cy="4664885"/>
          </a:xfrm>
          <a:prstGeom prst="rect">
            <a:avLst/>
          </a:prstGeom>
        </p:spPr>
        <p:txBody>
          <a:bodyPr lIns="0" tIns="0" rIns="0" bIns="0"/>
          <a:lstStyle>
            <a:lvl1pPr marL="174244" indent="-174244">
              <a:spcBef>
                <a:spcPts val="294"/>
              </a:spcBef>
              <a:buClr>
                <a:schemeClr val="accent1"/>
              </a:buClr>
              <a:defRPr sz="1764"/>
            </a:lvl1pPr>
            <a:lvl2pPr marL="441833" indent="-180467">
              <a:spcBef>
                <a:spcPts val="294"/>
              </a:spcBef>
              <a:buClr>
                <a:schemeClr val="tx1"/>
              </a:buClr>
              <a:buFont typeface="Arial" pitchFamily="34" charset="0"/>
              <a:buChar char="−"/>
              <a:defRPr sz="1568"/>
            </a:lvl2pPr>
            <a:lvl3pPr marL="701644" indent="-172689">
              <a:spcBef>
                <a:spcPts val="294"/>
              </a:spcBef>
              <a:buClr>
                <a:schemeClr val="tx1"/>
              </a:buClr>
              <a:buFont typeface="Arial" pitchFamily="34" charset="0"/>
              <a:buChar char="−"/>
              <a:tabLst/>
              <a:defRPr sz="1372"/>
            </a:lvl3pPr>
            <a:lvl4pPr marL="963010" indent="-174244">
              <a:spcBef>
                <a:spcPts val="294"/>
              </a:spcBef>
              <a:buClr>
                <a:schemeClr val="tx1"/>
              </a:buClr>
              <a:buFont typeface="Arial" pitchFamily="34" charset="0"/>
              <a:buChar char="−"/>
              <a:defRPr sz="1176"/>
            </a:lvl4pPr>
            <a:lvl5pPr marL="1230599" indent="-174244">
              <a:spcBef>
                <a:spcPts val="294"/>
              </a:spcBef>
              <a:buClr>
                <a:schemeClr val="tx1"/>
              </a:buClr>
              <a:buFont typeface="Arial" pitchFamily="34" charset="0"/>
              <a:buChar char="−"/>
              <a:defRPr sz="980"/>
            </a:lvl5pPr>
          </a:lstStyle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21" hasCustomPrompt="1"/>
          </p:nvPr>
        </p:nvSpPr>
        <p:spPr>
          <a:xfrm>
            <a:off x="177362" y="183602"/>
            <a:ext cx="8255102" cy="21160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76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fr-FR" cap="all" dirty="0"/>
              <a:t>00 CHAPTER TITLE</a:t>
            </a:r>
            <a:endParaRPr lang="fr-FR" cap="all" noProof="1"/>
          </a:p>
        </p:txBody>
      </p:sp>
      <p:sp>
        <p:nvSpPr>
          <p:cNvPr id="6" name="Titre 3"/>
          <p:cNvSpPr>
            <a:spLocks noGrp="1"/>
          </p:cNvSpPr>
          <p:nvPr>
            <p:ph type="title" hasCustomPrompt="1"/>
          </p:nvPr>
        </p:nvSpPr>
        <p:spPr>
          <a:xfrm>
            <a:off x="177362" y="389157"/>
            <a:ext cx="8257696" cy="338286"/>
          </a:xfrm>
          <a:prstGeom prst="rect">
            <a:avLst/>
          </a:prstGeom>
        </p:spPr>
        <p:txBody>
          <a:bodyPr lIns="0" tIns="0" rIns="0" bIns="0"/>
          <a:lstStyle>
            <a:lvl1pPr>
              <a:defRPr sz="1960" cap="all" baseline="0"/>
            </a:lvl1pPr>
          </a:lstStyle>
          <a:p>
            <a:r>
              <a:rPr lang="fr-FR" dirty="0"/>
              <a:t>PAGE TITLE</a:t>
            </a:r>
          </a:p>
        </p:txBody>
      </p:sp>
    </p:spTree>
    <p:extLst>
      <p:ext uri="{BB962C8B-B14F-4D97-AF65-F5344CB8AC3E}">
        <p14:creationId xmlns:p14="http://schemas.microsoft.com/office/powerpoint/2010/main" val="199027444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" name="Picture 18" descr="C:\Users\ARNAUD~1\AppData\Local\Temp\VMwareDnD\933dad87\3_brands_logotypes_bis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482" y="6391206"/>
            <a:ext cx="776188" cy="187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2" name="Text Box 23"/>
          <p:cNvSpPr txBox="1">
            <a:spLocks noChangeArrowheads="1"/>
          </p:cNvSpPr>
          <p:nvPr/>
        </p:nvSpPr>
        <p:spPr bwMode="auto">
          <a:xfrm>
            <a:off x="1756081" y="6382819"/>
            <a:ext cx="1637946" cy="21640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b="0" cap="all" baseline="0" dirty="0">
                <a:latin typeface="Arial" panose="020B0604020202020204" pitchFamily="34" charset="0"/>
                <a:cs typeface="Arial" panose="020B0604020202020204" pitchFamily="34" charset="0"/>
              </a:rPr>
              <a:t>DIRECTION</a:t>
            </a:r>
          </a:p>
          <a:p>
            <a:pPr eaLnBrk="1" hangingPunct="1"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b="0" cap="all" baseline="0" dirty="0">
                <a:latin typeface="Arial" panose="020B0604020202020204" pitchFamily="34" charset="0"/>
                <a:cs typeface="Arial" panose="020B0604020202020204" pitchFamily="34" charset="0"/>
              </a:rPr>
              <a:t>REDACTOR</a:t>
            </a:r>
          </a:p>
        </p:txBody>
      </p:sp>
      <p:cxnSp>
        <p:nvCxnSpPr>
          <p:cNvPr id="133" name="Connecteur droit 132"/>
          <p:cNvCxnSpPr/>
          <p:nvPr/>
        </p:nvCxnSpPr>
        <p:spPr>
          <a:xfrm>
            <a:off x="3493646" y="6358536"/>
            <a:ext cx="0" cy="216404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 Box 23"/>
          <p:cNvSpPr txBox="1">
            <a:spLocks noChangeArrowheads="1"/>
          </p:cNvSpPr>
          <p:nvPr/>
        </p:nvSpPr>
        <p:spPr bwMode="auto">
          <a:xfrm>
            <a:off x="3587201" y="6382819"/>
            <a:ext cx="1010182" cy="216404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 anchorCtr="0">
            <a:noAutofit/>
          </a:bodyPr>
          <a:lstStyle>
            <a:lvl1pPr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37931725" indent="-37474525" defTabSz="1042988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Clr>
                <a:srgbClr val="F7B100"/>
              </a:buClr>
              <a:buFont typeface="Wingdings" pitchFamily="2" charset="2"/>
              <a:buNone/>
              <a:defRPr/>
            </a:pPr>
            <a:r>
              <a:rPr lang="fr-FR" sz="800" b="0" cap="all" baseline="0" dirty="0">
                <a:latin typeface="Arial" panose="020B0604020202020204" pitchFamily="34" charset="0"/>
                <a:cs typeface="Arial" panose="020B0604020202020204" pitchFamily="34" charset="0"/>
              </a:rPr>
              <a:t>date</a:t>
            </a:r>
          </a:p>
        </p:txBody>
      </p:sp>
      <p:cxnSp>
        <p:nvCxnSpPr>
          <p:cNvPr id="135" name="Connecteur droit 134"/>
          <p:cNvCxnSpPr/>
          <p:nvPr/>
        </p:nvCxnSpPr>
        <p:spPr>
          <a:xfrm>
            <a:off x="1658489" y="6358536"/>
            <a:ext cx="0" cy="216404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Connecteur droit 135"/>
          <p:cNvCxnSpPr/>
          <p:nvPr/>
        </p:nvCxnSpPr>
        <p:spPr>
          <a:xfrm>
            <a:off x="4669888" y="6358536"/>
            <a:ext cx="0" cy="216404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texte 1"/>
          <p:cNvSpPr>
            <a:spLocks noGrp="1"/>
          </p:cNvSpPr>
          <p:nvPr>
            <p:ph type="body" idx="1"/>
          </p:nvPr>
        </p:nvSpPr>
        <p:spPr>
          <a:xfrm>
            <a:off x="236483" y="1164608"/>
            <a:ext cx="8470790" cy="50724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First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</p:txBody>
      </p:sp>
      <p:sp>
        <p:nvSpPr>
          <p:cNvPr id="3" name="Espace réservé du titre 2"/>
          <p:cNvSpPr>
            <a:spLocks noGrp="1"/>
          </p:cNvSpPr>
          <p:nvPr>
            <p:ph type="title"/>
          </p:nvPr>
        </p:nvSpPr>
        <p:spPr>
          <a:xfrm>
            <a:off x="236483" y="313899"/>
            <a:ext cx="8470790" cy="5459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70" name="Alliance_Labeling"/>
          <p:cNvSpPr txBox="1"/>
          <p:nvPr userDrawn="1"/>
        </p:nvSpPr>
        <p:spPr>
          <a:xfrm>
            <a:off x="4874881" y="6372632"/>
            <a:ext cx="1196976" cy="226591"/>
          </a:xfrm>
          <a:prstGeom prst="rect">
            <a:avLst/>
          </a:prstGeom>
          <a:solidFill>
            <a:srgbClr val="FFFFFF"/>
          </a:solidFill>
          <a:ln w="12700" cmpd="sng">
            <a:solidFill>
              <a:srgbClr val="000000"/>
            </a:solidFill>
          </a:ln>
        </p:spPr>
        <p:txBody>
          <a:bodyPr vert="horz" wrap="none" lIns="72000" tIns="36000" rIns="72000" bIns="3600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solidFill>
                  <a:srgbClr val="000000"/>
                </a:solidFill>
                <a:latin typeface="Verdana"/>
              </a:rPr>
              <a:t>Renault Internal</a:t>
            </a:r>
          </a:p>
        </p:txBody>
      </p:sp>
    </p:spTree>
    <p:extLst>
      <p:ext uri="{BB962C8B-B14F-4D97-AF65-F5344CB8AC3E}">
        <p14:creationId xmlns:p14="http://schemas.microsoft.com/office/powerpoint/2010/main" val="1722758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9" r:id="rId1"/>
    <p:sldLayoutId id="2147485460" r:id="rId2"/>
    <p:sldLayoutId id="2147485461" r:id="rId3"/>
    <p:sldLayoutId id="2147485478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 Narrow" pitchFamily="34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 Narrow" pitchFamily="34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 Narrow" pitchFamily="34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 Narrow" pitchFamily="34" charset="0"/>
          <a:ea typeface="MS PGothic" pitchFamily="34" charset="-128"/>
        </a:defRPr>
      </a:lvl5pPr>
      <a:lvl6pPr marL="336013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 Narrow" pitchFamily="34" charset="0"/>
          <a:ea typeface="MS PGothic" pitchFamily="34" charset="-128"/>
        </a:defRPr>
      </a:lvl6pPr>
      <a:lvl7pPr marL="672025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 Narrow" pitchFamily="34" charset="0"/>
          <a:ea typeface="MS PGothic" pitchFamily="34" charset="-128"/>
        </a:defRPr>
      </a:lvl7pPr>
      <a:lvl8pPr marL="1008038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 Narrow" pitchFamily="34" charset="0"/>
          <a:ea typeface="MS PGothic" pitchFamily="34" charset="-128"/>
        </a:defRPr>
      </a:lvl8pPr>
      <a:lvl9pPr marL="1344049"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 Narrow" pitchFamily="34" charset="0"/>
          <a:ea typeface="MS PGothic" pitchFamily="34" charset="-128"/>
        </a:defRPr>
      </a:lvl9pPr>
    </p:titleStyle>
    <p:bodyStyle>
      <a:lvl1pPr marL="252009" indent="-252009" algn="l" rtl="0" eaLnBrk="0" fontAlgn="base" hangingPunct="0">
        <a:spcBef>
          <a:spcPct val="35000"/>
        </a:spcBef>
        <a:spcAft>
          <a:spcPct val="0"/>
        </a:spcAft>
        <a:buClr>
          <a:srgbClr val="F7B100"/>
        </a:buClr>
        <a:buFont typeface="Wingdings" pitchFamily="2" charset="2"/>
        <a:buChar char="§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546022" indent="-210008" algn="l" rtl="0" eaLnBrk="0" fontAlgn="base" hangingPunct="0">
        <a:spcBef>
          <a:spcPct val="30000"/>
        </a:spcBef>
        <a:spcAft>
          <a:spcPct val="0"/>
        </a:spcAft>
        <a:buClr>
          <a:srgbClr val="F7B100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</a:defRPr>
      </a:lvl2pPr>
      <a:lvl3pPr marL="840032" indent="-168006" algn="l" rtl="0" eaLnBrk="0" fontAlgn="base" hangingPunct="0">
        <a:spcBef>
          <a:spcPct val="35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  <a:ea typeface="+mn-ea"/>
        </a:defRPr>
      </a:lvl3pPr>
      <a:lvl4pPr marL="1176044" indent="-168006" algn="l" rtl="0" eaLnBrk="0" fontAlgn="base" hangingPunct="0">
        <a:spcBef>
          <a:spcPct val="40000"/>
        </a:spcBef>
        <a:spcAft>
          <a:spcPct val="0"/>
        </a:spcAft>
        <a:buFont typeface="Wingdings" pitchFamily="2" charset="2"/>
        <a:buChar char="§"/>
        <a:defRPr sz="1100">
          <a:solidFill>
            <a:schemeClr val="tx1"/>
          </a:solidFill>
          <a:latin typeface="+mn-lt"/>
          <a:ea typeface="+mn-ea"/>
        </a:defRPr>
      </a:lvl4pPr>
      <a:lvl5pPr marL="1512057" indent="-168006" algn="l" rtl="0" eaLnBrk="0" fontAlgn="base" hangingPunct="0">
        <a:spcBef>
          <a:spcPct val="20000"/>
        </a:spcBef>
        <a:spcAft>
          <a:spcPct val="0"/>
        </a:spcAft>
        <a:buChar char="»"/>
        <a:defRPr sz="1100">
          <a:solidFill>
            <a:schemeClr val="tx1"/>
          </a:solidFill>
          <a:latin typeface="+mn-lt"/>
          <a:ea typeface="+mn-ea"/>
        </a:defRPr>
      </a:lvl5pPr>
      <a:lvl6pPr marL="1848070" indent="-168006" algn="l" rtl="0" eaLnBrk="1" fontAlgn="base" hangingPunct="1">
        <a:spcBef>
          <a:spcPct val="20000"/>
        </a:spcBef>
        <a:spcAft>
          <a:spcPct val="0"/>
        </a:spcAft>
        <a:buChar char="»"/>
        <a:defRPr sz="800">
          <a:solidFill>
            <a:schemeClr val="tx1"/>
          </a:solidFill>
          <a:latin typeface="+mn-lt"/>
          <a:ea typeface="+mn-ea"/>
        </a:defRPr>
      </a:lvl6pPr>
      <a:lvl7pPr marL="2184082" indent="-168006" algn="l" rtl="0" eaLnBrk="1" fontAlgn="base" hangingPunct="1">
        <a:spcBef>
          <a:spcPct val="20000"/>
        </a:spcBef>
        <a:spcAft>
          <a:spcPct val="0"/>
        </a:spcAft>
        <a:buChar char="»"/>
        <a:defRPr sz="800">
          <a:solidFill>
            <a:schemeClr val="tx1"/>
          </a:solidFill>
          <a:latin typeface="+mn-lt"/>
          <a:ea typeface="+mn-ea"/>
        </a:defRPr>
      </a:lvl7pPr>
      <a:lvl8pPr marL="2520095" indent="-168006" algn="l" rtl="0" eaLnBrk="1" fontAlgn="base" hangingPunct="1">
        <a:spcBef>
          <a:spcPct val="20000"/>
        </a:spcBef>
        <a:spcAft>
          <a:spcPct val="0"/>
        </a:spcAft>
        <a:buChar char="»"/>
        <a:defRPr sz="800">
          <a:solidFill>
            <a:schemeClr val="tx1"/>
          </a:solidFill>
          <a:latin typeface="+mn-lt"/>
          <a:ea typeface="+mn-ea"/>
        </a:defRPr>
      </a:lvl8pPr>
      <a:lvl9pPr marL="2856108" indent="-168006" algn="l" rtl="0" eaLnBrk="1" fontAlgn="base" hangingPunct="1">
        <a:spcBef>
          <a:spcPct val="20000"/>
        </a:spcBef>
        <a:spcAft>
          <a:spcPct val="0"/>
        </a:spcAft>
        <a:buChar char="»"/>
        <a:defRPr sz="8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672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6013" algn="l" defTabSz="672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2025" algn="l" defTabSz="672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38" algn="l" defTabSz="672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049" algn="l" defTabSz="672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80063" algn="l" defTabSz="672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16075" algn="l" defTabSz="672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52087" algn="l" defTabSz="672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688101" algn="l" defTabSz="67202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709">
          <p15:clr>
            <a:srgbClr val="F26B43"/>
          </p15:clr>
        </p15:guide>
        <p15:guide id="2" pos="3977">
          <p15:clr>
            <a:srgbClr val="F26B43"/>
          </p15:clr>
        </p15:guide>
        <p15:guide id="3" pos="4205">
          <p15:clr>
            <a:srgbClr val="F26B43"/>
          </p15:clr>
        </p15:guide>
        <p15:guide id="4" orient="horz" pos="114">
          <p15:clr>
            <a:srgbClr val="F26B43"/>
          </p15:clr>
        </p15:guide>
        <p15:guide id="5" orient="horz" pos="228">
          <p15:clr>
            <a:srgbClr val="F26B43"/>
          </p15:clr>
        </p15:guide>
        <p15:guide id="6" orient="horz" pos="3125">
          <p15:clr>
            <a:srgbClr val="F26B43"/>
          </p15:clr>
        </p15:guide>
        <p15:guide id="7" pos="2189">
          <p15:clr>
            <a:srgbClr val="F26B43"/>
          </p15:clr>
        </p15:guide>
        <p15:guide id="8" pos="2129">
          <p15:clr>
            <a:srgbClr val="F26B43"/>
          </p15:clr>
        </p15:guide>
        <p15:guide id="9" pos="114">
          <p15:clr>
            <a:srgbClr val="F26B43"/>
          </p15:clr>
        </p15:guide>
        <p15:guide id="10" pos="341">
          <p15:clr>
            <a:srgbClr val="F26B43"/>
          </p15:clr>
        </p15:guide>
        <p15:guide id="11" pos="1094">
          <p15:clr>
            <a:srgbClr val="F26B43"/>
          </p15:clr>
        </p15:guide>
        <p15:guide id="12" pos="1151">
          <p15:clr>
            <a:srgbClr val="F26B43"/>
          </p15:clr>
        </p15:guide>
        <p15:guide id="13" pos="3167">
          <p15:clr>
            <a:srgbClr val="F26B43"/>
          </p15:clr>
        </p15:guide>
        <p15:guide id="14" pos="3226">
          <p15:clr>
            <a:srgbClr val="F26B43"/>
          </p15:clr>
        </p15:guide>
        <p15:guide id="15" orient="horz" pos="342">
          <p15:clr>
            <a:srgbClr val="F26B43"/>
          </p15:clr>
        </p15:guide>
        <p15:guide id="16" orient="horz" pos="456">
          <p15:clr>
            <a:srgbClr val="F26B43"/>
          </p15:clr>
        </p15:guide>
        <p15:guide id="17" orient="horz" pos="569">
          <p15:clr>
            <a:srgbClr val="F26B43"/>
          </p15:clr>
        </p15:guide>
        <p15:guide id="18" pos="1439">
          <p15:clr>
            <a:srgbClr val="F26B43"/>
          </p15:clr>
        </p15:guide>
        <p15:guide id="19" pos="1497">
          <p15:clr>
            <a:srgbClr val="F26B43"/>
          </p15:clr>
        </p15:guide>
        <p15:guide id="20" pos="2822">
          <p15:clr>
            <a:srgbClr val="F26B43"/>
          </p15:clr>
        </p15:guide>
        <p15:guide id="21" pos="2877">
          <p15:clr>
            <a:srgbClr val="F26B43"/>
          </p15:clr>
        </p15:guide>
        <p15:guide id="22" orient="horz" pos="1650">
          <p15:clr>
            <a:srgbClr val="F26B43"/>
          </p15:clr>
        </p15:guide>
        <p15:guide id="23" orient="horz" pos="2786">
          <p15:clr>
            <a:srgbClr val="F26B43"/>
          </p15:clr>
        </p15:guide>
        <p15:guide id="24" orient="horz" pos="306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ChangeArrowheads="1"/>
          </p:cNvSpPr>
          <p:nvPr/>
        </p:nvSpPr>
        <p:spPr bwMode="auto">
          <a:xfrm>
            <a:off x="0" y="0"/>
            <a:ext cx="8961438" cy="890588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592" tIns="44797" rIns="89592" bIns="44797" anchor="ctr"/>
          <a:lstStyle/>
          <a:p>
            <a:pPr eaLnBrk="0" hangingPunct="0"/>
            <a:endParaRPr lang="en-US" altLang="ja-JP" sz="16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77836" name="Text Box 12"/>
          <p:cNvSpPr txBox="1">
            <a:spLocks noChangeArrowheads="1"/>
          </p:cNvSpPr>
          <p:nvPr/>
        </p:nvSpPr>
        <p:spPr bwMode="auto">
          <a:xfrm>
            <a:off x="8574088" y="6451600"/>
            <a:ext cx="77628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9592" tIns="44797" rIns="89592" bIns="44797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fld id="{2D85C84E-FFCC-40F3-98AB-546A25D3F2A7}" type="slidenum">
              <a:rPr lang="en-US" altLang="ja-JP" sz="1200" smtClean="0">
                <a:solidFill>
                  <a:srgbClr val="000000"/>
                </a:solidFill>
                <a:latin typeface="Arial" pitchFamily="34" charset="0"/>
              </a:rPr>
              <a:pPr eaLnBrk="0" hangingPunct="0">
                <a:spcBef>
                  <a:spcPct val="50000"/>
                </a:spcBef>
                <a:defRPr/>
              </a:pPr>
              <a:t>‹N°›</a:t>
            </a:fld>
            <a:endParaRPr lang="en-US" altLang="ja-JP" sz="12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028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176213" y="114300"/>
            <a:ext cx="87852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592" tIns="44797" rIns="89592" bIns="4479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/>
              <a:t>Click to edit Master title style</a:t>
            </a:r>
          </a:p>
        </p:txBody>
      </p:sp>
      <p:sp>
        <p:nvSpPr>
          <p:cNvPr id="1029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1219200"/>
            <a:ext cx="8328025" cy="510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592" tIns="44797" rIns="89592" bIns="44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ja-JP" dirty="0"/>
              <a:t>Click to edit Master text styles</a:t>
            </a:r>
          </a:p>
          <a:p>
            <a:pPr lvl="1"/>
            <a:r>
              <a:rPr lang="en-US" altLang="ja-JP" dirty="0"/>
              <a:t>Second level</a:t>
            </a:r>
          </a:p>
          <a:p>
            <a:pPr lvl="2"/>
            <a:r>
              <a:rPr lang="en-US" altLang="ja-JP" dirty="0"/>
              <a:t>Third level</a:t>
            </a:r>
          </a:p>
        </p:txBody>
      </p:sp>
      <p:sp>
        <p:nvSpPr>
          <p:cNvPr id="77842" name="Text Box 18"/>
          <p:cNvSpPr txBox="1">
            <a:spLocks noChangeArrowheads="1"/>
          </p:cNvSpPr>
          <p:nvPr/>
        </p:nvSpPr>
        <p:spPr bwMode="auto">
          <a:xfrm>
            <a:off x="0" y="6445250"/>
            <a:ext cx="18097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592" tIns="44797" rIns="89592" bIns="44797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eaLnBrk="0" hangingPunct="0">
              <a:defRPr/>
            </a:pPr>
            <a:endParaRPr lang="en-US" altLang="ja-JP" sz="120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" name="Alliance_Labeling"/>
          <p:cNvSpPr txBox="1"/>
          <p:nvPr userDrawn="1"/>
        </p:nvSpPr>
        <p:spPr>
          <a:xfrm>
            <a:off x="6512143" y="6415509"/>
            <a:ext cx="1666657" cy="226591"/>
          </a:xfrm>
          <a:prstGeom prst="rect">
            <a:avLst/>
          </a:prstGeom>
          <a:solidFill>
            <a:srgbClr val="FFFFFF"/>
          </a:solidFill>
          <a:ln w="12700" cmpd="sng">
            <a:solidFill>
              <a:srgbClr val="000000"/>
            </a:solidFill>
          </a:ln>
        </p:spPr>
        <p:txBody>
          <a:bodyPr vert="horz" wrap="none" lIns="72000" tIns="36000" rIns="72000" bIns="3600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>
                <a:solidFill>
                  <a:srgbClr val="000000"/>
                </a:solidFill>
                <a:latin typeface="Verdana"/>
              </a:rPr>
              <a:t>Renault Nissan Internal</a:t>
            </a:r>
          </a:p>
        </p:txBody>
      </p:sp>
    </p:spTree>
    <p:extLst>
      <p:ext uri="{BB962C8B-B14F-4D97-AF65-F5344CB8AC3E}">
        <p14:creationId xmlns:p14="http://schemas.microsoft.com/office/powerpoint/2010/main" val="923838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63" r:id="rId1"/>
    <p:sldLayoutId id="2147485464" r:id="rId2"/>
    <p:sldLayoutId id="2147485465" r:id="rId3"/>
    <p:sldLayoutId id="2147485470" r:id="rId4"/>
    <p:sldLayoutId id="2147485474" r:id="rId5"/>
    <p:sldLayoutId id="2147485476" r:id="rId6"/>
    <p:sldLayoutId id="2147485477" r:id="rId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charset="0"/>
        </a:defRPr>
      </a:lvl5pPr>
      <a:lvl6pPr marL="447962" algn="l" rtl="0" fontAlgn="base"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charset="0"/>
        </a:defRPr>
      </a:lvl6pPr>
      <a:lvl7pPr marL="895922" algn="l" rtl="0" fontAlgn="base"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charset="0"/>
        </a:defRPr>
      </a:lvl7pPr>
      <a:lvl8pPr marL="1343884" algn="l" rtl="0" fontAlgn="base"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charset="0"/>
        </a:defRPr>
      </a:lvl8pPr>
      <a:lvl9pPr marL="1791844" algn="l" rtl="0" fontAlgn="base">
        <a:spcBef>
          <a:spcPct val="0"/>
        </a:spcBef>
        <a:spcAft>
          <a:spcPct val="0"/>
        </a:spcAft>
        <a:defRPr sz="3500" b="1">
          <a:solidFill>
            <a:schemeClr val="tx1"/>
          </a:solidFill>
          <a:latin typeface="Arial" charset="0"/>
        </a:defRPr>
      </a:lvl9pPr>
    </p:titleStyle>
    <p:bodyStyle>
      <a:lvl1pPr marL="331788" indent="-3317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2400" b="1">
          <a:solidFill>
            <a:schemeClr val="tx1"/>
          </a:solidFill>
          <a:latin typeface="+mn-lt"/>
          <a:ea typeface="+mn-ea"/>
          <a:cs typeface="+mn-cs"/>
        </a:defRPr>
      </a:lvl1pPr>
      <a:lvl2pPr marL="723900" indent="-276225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–"/>
        <a:defRPr sz="2000">
          <a:solidFill>
            <a:schemeClr val="tx1"/>
          </a:solidFill>
          <a:latin typeface="+mn-lt"/>
        </a:defRPr>
      </a:lvl2pPr>
      <a:lvl3pPr marL="1116013" indent="-2206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</a:defRPr>
      </a:lvl3pPr>
      <a:lvl4pPr marL="1563688" indent="-220663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–"/>
        <a:defRPr>
          <a:solidFill>
            <a:schemeClr val="tx1"/>
          </a:solidFill>
          <a:latin typeface="+mn-lt"/>
        </a:defRPr>
      </a:lvl4pPr>
      <a:lvl5pPr marL="2012950" indent="-220663" algn="l" rtl="0" eaLnBrk="0" fontAlgn="base" hangingPunct="0">
        <a:spcBef>
          <a:spcPct val="20000"/>
        </a:spcBef>
        <a:spcAft>
          <a:spcPct val="0"/>
        </a:spcAft>
        <a:buClr>
          <a:schemeClr val="bg1"/>
        </a:buClr>
        <a:buChar char="»"/>
        <a:defRPr>
          <a:solidFill>
            <a:schemeClr val="tx1"/>
          </a:solidFill>
          <a:latin typeface="+mn-lt"/>
        </a:defRPr>
      </a:lvl5pPr>
      <a:lvl6pPr marL="2463785" indent="-223980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>
          <a:solidFill>
            <a:schemeClr val="tx1"/>
          </a:solidFill>
          <a:latin typeface="+mn-lt"/>
        </a:defRPr>
      </a:lvl6pPr>
      <a:lvl7pPr marL="2911747" indent="-223980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>
          <a:solidFill>
            <a:schemeClr val="tx1"/>
          </a:solidFill>
          <a:latin typeface="+mn-lt"/>
        </a:defRPr>
      </a:lvl7pPr>
      <a:lvl8pPr marL="3359708" indent="-223980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>
          <a:solidFill>
            <a:schemeClr val="tx1"/>
          </a:solidFill>
          <a:latin typeface="+mn-lt"/>
        </a:defRPr>
      </a:lvl8pPr>
      <a:lvl9pPr marL="3807668" indent="-223980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ja-JP"/>
      </a:defPPr>
      <a:lvl1pPr marL="0" algn="l" defTabSz="89592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962" algn="l" defTabSz="89592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922" algn="l" defTabSz="89592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884" algn="l" defTabSz="89592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1844" algn="l" defTabSz="89592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806" algn="l" defTabSz="89592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7766" algn="l" defTabSz="89592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5728" algn="l" defTabSz="89592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3689" algn="l" defTabSz="89592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35613"/>
            <a:ext cx="8961438" cy="393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87" name="Rectangle 63"/>
          <p:cNvSpPr>
            <a:spLocks noGrp="1" noChangeArrowheads="1"/>
          </p:cNvSpPr>
          <p:nvPr>
            <p:ph type="title"/>
          </p:nvPr>
        </p:nvSpPr>
        <p:spPr bwMode="auto">
          <a:xfrm>
            <a:off x="0" y="21783"/>
            <a:ext cx="7169150" cy="5258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611" tIns="44806" rIns="89611" bIns="44806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タイトルの書式設定</a:t>
            </a:r>
          </a:p>
        </p:txBody>
      </p:sp>
      <p:sp>
        <p:nvSpPr>
          <p:cNvPr id="1088" name="Rectangle 64" descr="Rectangle: Click to edit Master text styles&#10;Second level&#10;Third level&#10;Fourth level&#10;Fifth level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002" y="638306"/>
            <a:ext cx="8612052" cy="4133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</a:p>
        </p:txBody>
      </p:sp>
      <p:sp>
        <p:nvSpPr>
          <p:cNvPr id="1093" name="Line 69"/>
          <p:cNvSpPr>
            <a:spLocks noChangeShapeType="1"/>
          </p:cNvSpPr>
          <p:nvPr/>
        </p:nvSpPr>
        <p:spPr bwMode="auto">
          <a:xfrm>
            <a:off x="8662723" y="0"/>
            <a:ext cx="0" cy="2308951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611" tIns="44806" rIns="89611" bIns="44806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ja-JP" altLang="en-US" sz="2400" dirty="0">
              <a:solidFill>
                <a:srgbClr val="000008"/>
              </a:solidFill>
            </a:endParaRPr>
          </a:p>
        </p:txBody>
      </p:sp>
      <p:sp>
        <p:nvSpPr>
          <p:cNvPr id="1101" name="Line 77"/>
          <p:cNvSpPr>
            <a:spLocks noChangeShapeType="1"/>
          </p:cNvSpPr>
          <p:nvPr/>
        </p:nvSpPr>
        <p:spPr bwMode="auto">
          <a:xfrm>
            <a:off x="0" y="544564"/>
            <a:ext cx="8668947" cy="0"/>
          </a:xfrm>
          <a:prstGeom prst="line">
            <a:avLst/>
          </a:prstGeom>
          <a:noFill/>
          <a:ln w="57150">
            <a:solidFill>
              <a:srgbClr val="003F66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9611" tIns="44806" rIns="89611" bIns="44806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ja-JP" altLang="en-US" sz="2400" dirty="0">
              <a:solidFill>
                <a:srgbClr val="000008"/>
              </a:solidFill>
            </a:endParaRPr>
          </a:p>
        </p:txBody>
      </p:sp>
      <p:sp>
        <p:nvSpPr>
          <p:cNvPr id="16" name="テキスト ボックス 5"/>
          <p:cNvSpPr txBox="1">
            <a:spLocks noChangeArrowheads="1"/>
          </p:cNvSpPr>
          <p:nvPr/>
        </p:nvSpPr>
        <p:spPr bwMode="auto">
          <a:xfrm>
            <a:off x="2658872" y="6410296"/>
            <a:ext cx="1864125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9611" tIns="44806" rIns="89611" bIns="44806">
            <a:spAutoFit/>
          </a:bodyPr>
          <a:lstStyle>
            <a:lvl1pPr eaLnBrk="0" hangingPunct="0"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1pPr>
            <a:lvl2pPr marL="742950" indent="-285750" eaLnBrk="0" hangingPunct="0"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2pPr>
            <a:lvl3pPr marL="1143000" indent="-228600" eaLnBrk="0" hangingPunct="0"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3pPr>
            <a:lvl4pPr marL="1600200" indent="-228600" eaLnBrk="0" hangingPunct="0"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4pPr>
            <a:lvl5pPr marL="2057400" indent="-228600" eaLnBrk="0" hangingPunct="0"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bg1"/>
                </a:solidFill>
                <a:latin typeface="Verdana" pitchFamily="34" charset="0"/>
                <a:ea typeface="HGS創英角ｺﾞｼｯｸUB" pitchFamily="50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100" dirty="0">
                <a:solidFill>
                  <a:srgbClr val="FFFFFF"/>
                </a:solidFill>
              </a:rPr>
              <a:t>www.nissan-global.com</a:t>
            </a:r>
            <a:endParaRPr lang="ja-JP" altLang="en-US" sz="1100" dirty="0">
              <a:solidFill>
                <a:srgbClr val="FFFFFF"/>
              </a:solidFill>
            </a:endParaRPr>
          </a:p>
        </p:txBody>
      </p:sp>
      <p:sp>
        <p:nvSpPr>
          <p:cNvPr id="3" name="テキスト ボックス 2"/>
          <p:cNvSpPr txBox="1"/>
          <p:nvPr/>
        </p:nvSpPr>
        <p:spPr>
          <a:xfrm>
            <a:off x="8186160" y="6386335"/>
            <a:ext cx="740491" cy="30593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0" marR="0" indent="0" algn="r" defTabSz="896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0A506D-191B-4D75-B5E8-A40F654946FD}" type="slidenum">
              <a:rPr lang="en-US" altLang="ja-JP" sz="1400" smtClean="0">
                <a:solidFill>
                  <a:srgbClr val="FFFFFF"/>
                </a:solidFill>
              </a:rPr>
              <a:pPr marL="0" marR="0" indent="0" algn="r" defTabSz="89611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altLang="ja-JP" sz="1400" dirty="0">
              <a:solidFill>
                <a:srgbClr val="FFFFFF"/>
              </a:solidFill>
            </a:endParaRPr>
          </a:p>
        </p:txBody>
      </p:sp>
      <p:pic>
        <p:nvPicPr>
          <p:cNvPr id="1026" name="Picture 2" descr="C:\Users\N178969\AppData\Local\Microsoft\Windows\Temporary Internet Files\Content.Outlook\LB0FYE51\20130326_newglobalisit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393" y="51855"/>
            <a:ext cx="1526997" cy="426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lliance_Labeling"/>
          <p:cNvSpPr txBox="1"/>
          <p:nvPr userDrawn="1"/>
        </p:nvSpPr>
        <p:spPr>
          <a:xfrm>
            <a:off x="6512143" y="6415509"/>
            <a:ext cx="1666657" cy="226591"/>
          </a:xfrm>
          <a:prstGeom prst="rect">
            <a:avLst/>
          </a:prstGeom>
          <a:solidFill>
            <a:srgbClr val="FFFFFF"/>
          </a:solidFill>
          <a:ln w="12700" cmpd="sng">
            <a:solidFill>
              <a:srgbClr val="000000"/>
            </a:solidFill>
          </a:ln>
        </p:spPr>
        <p:txBody>
          <a:bodyPr vert="horz" wrap="none" lIns="72000" tIns="36000" rIns="72000" bIns="3600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b="0">
                <a:solidFill>
                  <a:srgbClr val="000000"/>
                </a:solidFill>
                <a:latin typeface="Verdana"/>
              </a:rPr>
              <a:t>Renault Nissan Internal</a:t>
            </a:r>
          </a:p>
        </p:txBody>
      </p:sp>
    </p:spTree>
    <p:extLst>
      <p:ext uri="{BB962C8B-B14F-4D97-AF65-F5344CB8AC3E}">
        <p14:creationId xmlns:p14="http://schemas.microsoft.com/office/powerpoint/2010/main" val="2273917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67" r:id="rId1"/>
    <p:sldLayoutId id="2147485468" r:id="rId2"/>
    <p:sldLayoutId id="2147485469" r:id="rId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700">
          <a:solidFill>
            <a:srgbClr val="000000"/>
          </a:solidFill>
          <a:latin typeface="Verdana" pitchFamily="34" charset="0"/>
          <a:ea typeface="+mj-ea"/>
          <a:cs typeface="Verdana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700">
          <a:solidFill>
            <a:srgbClr val="000000"/>
          </a:solidFill>
          <a:latin typeface="NissanAG-Medium" pitchFamily="50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700">
          <a:solidFill>
            <a:srgbClr val="000000"/>
          </a:solidFill>
          <a:latin typeface="NissanAG-Medium" pitchFamily="50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700">
          <a:solidFill>
            <a:srgbClr val="000000"/>
          </a:solidFill>
          <a:latin typeface="NissanAG-Medium" pitchFamily="50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700">
          <a:solidFill>
            <a:srgbClr val="000000"/>
          </a:solidFill>
          <a:latin typeface="NissanAG-Medium" pitchFamily="50" charset="0"/>
          <a:ea typeface="ＭＳ Ｐゴシック" charset="-128"/>
        </a:defRPr>
      </a:lvl5pPr>
      <a:lvl6pPr marL="448056" algn="l" rtl="0" eaLnBrk="1" fontAlgn="base" hangingPunct="1">
        <a:spcBef>
          <a:spcPct val="0"/>
        </a:spcBef>
        <a:spcAft>
          <a:spcPct val="0"/>
        </a:spcAft>
        <a:defRPr kumimoji="1" sz="2700">
          <a:solidFill>
            <a:srgbClr val="000000"/>
          </a:solidFill>
          <a:latin typeface="NissanAG-Medium" pitchFamily="50" charset="0"/>
          <a:ea typeface="ＭＳ Ｐゴシック" charset="-128"/>
        </a:defRPr>
      </a:lvl6pPr>
      <a:lvl7pPr marL="896112" algn="l" rtl="0" eaLnBrk="1" fontAlgn="base" hangingPunct="1">
        <a:spcBef>
          <a:spcPct val="0"/>
        </a:spcBef>
        <a:spcAft>
          <a:spcPct val="0"/>
        </a:spcAft>
        <a:defRPr kumimoji="1" sz="2700">
          <a:solidFill>
            <a:srgbClr val="000000"/>
          </a:solidFill>
          <a:latin typeface="NissanAG-Medium" pitchFamily="50" charset="0"/>
          <a:ea typeface="ＭＳ Ｐゴシック" charset="-128"/>
        </a:defRPr>
      </a:lvl7pPr>
      <a:lvl8pPr marL="1344168" algn="l" rtl="0" eaLnBrk="1" fontAlgn="base" hangingPunct="1">
        <a:spcBef>
          <a:spcPct val="0"/>
        </a:spcBef>
        <a:spcAft>
          <a:spcPct val="0"/>
        </a:spcAft>
        <a:defRPr kumimoji="1" sz="2700">
          <a:solidFill>
            <a:srgbClr val="000000"/>
          </a:solidFill>
          <a:latin typeface="NissanAG-Medium" pitchFamily="50" charset="0"/>
          <a:ea typeface="ＭＳ Ｐゴシック" charset="-128"/>
        </a:defRPr>
      </a:lvl8pPr>
      <a:lvl9pPr marL="1792224" algn="l" rtl="0" eaLnBrk="1" fontAlgn="base" hangingPunct="1">
        <a:spcBef>
          <a:spcPct val="0"/>
        </a:spcBef>
        <a:spcAft>
          <a:spcPct val="0"/>
        </a:spcAft>
        <a:defRPr kumimoji="1" sz="2700">
          <a:solidFill>
            <a:srgbClr val="000000"/>
          </a:solidFill>
          <a:latin typeface="NissanAG-Medium" pitchFamily="50" charset="0"/>
          <a:ea typeface="ＭＳ Ｐゴシック" charset="-128"/>
        </a:defRPr>
      </a:lvl9pPr>
    </p:titleStyle>
    <p:bodyStyle>
      <a:lvl1pPr marL="336042" indent="-336042" algn="l" rtl="0" eaLnBrk="1" fontAlgn="base" hangingPunct="1">
        <a:spcBef>
          <a:spcPct val="20000"/>
        </a:spcBef>
        <a:spcAft>
          <a:spcPct val="0"/>
        </a:spcAft>
        <a:buClr>
          <a:srgbClr val="003F66"/>
        </a:buClr>
        <a:buSzPct val="110000"/>
        <a:buFont typeface="Wingdings" pitchFamily="2" charset="2"/>
        <a:buChar char="n"/>
        <a:defRPr kumimoji="1" sz="2400">
          <a:solidFill>
            <a:srgbClr val="000000"/>
          </a:solidFill>
          <a:latin typeface="Verdana" pitchFamily="34" charset="0"/>
          <a:ea typeface="+mn-ea"/>
          <a:cs typeface="Verdana" pitchFamily="34" charset="0"/>
        </a:defRPr>
      </a:lvl1pPr>
      <a:lvl2pPr marL="728091" indent="-280035" algn="l" rtl="0" eaLnBrk="1" fontAlgn="base" hangingPunct="1">
        <a:spcBef>
          <a:spcPct val="20000"/>
        </a:spcBef>
        <a:spcAft>
          <a:spcPct val="0"/>
        </a:spcAft>
        <a:buClr>
          <a:srgbClr val="5795BB"/>
        </a:buClr>
        <a:buSzPct val="60000"/>
        <a:buFont typeface="Wingdings" pitchFamily="2" charset="2"/>
        <a:buChar char="n"/>
        <a:defRPr kumimoji="1" sz="2000">
          <a:solidFill>
            <a:srgbClr val="000000"/>
          </a:solidFill>
          <a:latin typeface="Verdana" pitchFamily="34" charset="0"/>
          <a:ea typeface="+mn-ea"/>
          <a:cs typeface="Verdana" pitchFamily="34" charset="0"/>
        </a:defRPr>
      </a:lvl2pPr>
      <a:lvl3pPr marL="1120140" indent="-224028" algn="l" rtl="0" eaLnBrk="1" fontAlgn="base" hangingPunct="1">
        <a:spcBef>
          <a:spcPct val="20000"/>
        </a:spcBef>
        <a:spcAft>
          <a:spcPct val="0"/>
        </a:spcAft>
        <a:buClr>
          <a:srgbClr val="003F66"/>
        </a:buClr>
        <a:buSzPct val="95000"/>
        <a:buFont typeface="Wingdings" pitchFamily="2" charset="2"/>
        <a:buChar char="w"/>
        <a:defRPr kumimoji="1" sz="1800">
          <a:solidFill>
            <a:srgbClr val="000000"/>
          </a:solidFill>
          <a:latin typeface="Verdana" pitchFamily="34" charset="0"/>
          <a:ea typeface="+mn-ea"/>
          <a:cs typeface="Verdana" pitchFamily="34" charset="0"/>
        </a:defRPr>
      </a:lvl3pPr>
      <a:lvl4pPr marL="1568196" indent="-224028" algn="l" rtl="0" eaLnBrk="1" fontAlgn="base" hangingPunct="1">
        <a:spcBef>
          <a:spcPct val="20000"/>
        </a:spcBef>
        <a:spcAft>
          <a:spcPct val="0"/>
        </a:spcAft>
        <a:buClr>
          <a:srgbClr val="5795BB"/>
        </a:buClr>
        <a:buSzPct val="65000"/>
        <a:buFont typeface="Wingdings" pitchFamily="2" charset="2"/>
        <a:buChar char="n"/>
        <a:defRPr kumimoji="1" sz="1600">
          <a:solidFill>
            <a:srgbClr val="000000"/>
          </a:solidFill>
          <a:latin typeface="Verdana" pitchFamily="34" charset="0"/>
          <a:ea typeface="+mn-ea"/>
          <a:cs typeface="Verdana" pitchFamily="34" charset="0"/>
        </a:defRPr>
      </a:lvl4pPr>
      <a:lvl5pPr marL="2016252" indent="-224028" algn="l" rtl="0" eaLnBrk="1" fontAlgn="base" hangingPunct="1">
        <a:spcBef>
          <a:spcPct val="20000"/>
        </a:spcBef>
        <a:spcAft>
          <a:spcPct val="0"/>
        </a:spcAft>
        <a:buClr>
          <a:srgbClr val="003F66"/>
        </a:buClr>
        <a:buSzPct val="60000"/>
        <a:buFont typeface="Wingdings" pitchFamily="2" charset="2"/>
        <a:buChar char="n"/>
        <a:defRPr kumimoji="1" sz="1600">
          <a:solidFill>
            <a:srgbClr val="000000"/>
          </a:solidFill>
          <a:latin typeface="Verdana" pitchFamily="34" charset="0"/>
          <a:ea typeface="+mn-ea"/>
          <a:cs typeface="Verdana" pitchFamily="34" charset="0"/>
        </a:defRPr>
      </a:lvl5pPr>
      <a:lvl6pPr marL="2464308" indent="-224028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60000"/>
        <a:buFont typeface="Wingdings" pitchFamily="2" charset="2"/>
        <a:buChar char="n"/>
        <a:defRPr kumimoji="1" sz="2000">
          <a:solidFill>
            <a:srgbClr val="000000"/>
          </a:solidFill>
          <a:latin typeface="+mn-lt"/>
          <a:ea typeface="+mn-ea"/>
        </a:defRPr>
      </a:lvl6pPr>
      <a:lvl7pPr marL="2912364" indent="-224028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60000"/>
        <a:buFont typeface="Wingdings" pitchFamily="2" charset="2"/>
        <a:buChar char="n"/>
        <a:defRPr kumimoji="1" sz="2000">
          <a:solidFill>
            <a:srgbClr val="000000"/>
          </a:solidFill>
          <a:latin typeface="+mn-lt"/>
          <a:ea typeface="+mn-ea"/>
        </a:defRPr>
      </a:lvl7pPr>
      <a:lvl8pPr marL="3360420" indent="-224028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60000"/>
        <a:buFont typeface="Wingdings" pitchFamily="2" charset="2"/>
        <a:buChar char="n"/>
        <a:defRPr kumimoji="1" sz="2000">
          <a:solidFill>
            <a:srgbClr val="000000"/>
          </a:solidFill>
          <a:latin typeface="+mn-lt"/>
          <a:ea typeface="+mn-ea"/>
        </a:defRPr>
      </a:lvl8pPr>
      <a:lvl9pPr marL="3808476" indent="-224028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60000"/>
        <a:buFont typeface="Wingdings" pitchFamily="2" charset="2"/>
        <a:buChar char="n"/>
        <a:defRPr kumimoji="1" sz="20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89611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cid:image012.jpg@01D32BBA.16101320" TargetMode="Externa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>
            <a:spLocks noChangeArrowheads="1"/>
          </p:cNvSpPr>
          <p:nvPr/>
        </p:nvSpPr>
        <p:spPr bwMode="auto">
          <a:xfrm>
            <a:off x="-700088" y="5480050"/>
            <a:ext cx="6272213" cy="124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536" tIns="44767" rIns="89536" bIns="44767"/>
          <a:lstStyle/>
          <a:p>
            <a:pPr algn="ctr">
              <a:spcBef>
                <a:spcPct val="20000"/>
              </a:spcBef>
            </a:pPr>
            <a:endParaRPr lang="fr-FR" altLang="ja-JP" sz="2700" b="1" dirty="0">
              <a:solidFill>
                <a:srgbClr val="3B3D3C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err="1"/>
              <a:t>dfm</a:t>
            </a:r>
            <a:r>
              <a:rPr lang="en-US" dirty="0"/>
              <a:t> web </a:t>
            </a:r>
            <a:r>
              <a:rPr lang="en-US" dirty="0" err="1" smtClean="0"/>
              <a:t>romaniA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sz="2000" dirty="0" err="1" smtClean="0"/>
              <a:t>preGATIRE</a:t>
            </a:r>
            <a:r>
              <a:rPr lang="en-US" sz="2000" dirty="0" smtClean="0"/>
              <a:t> INSTALRE SI IMPLEMENTARE</a:t>
            </a:r>
            <a:endParaRPr lang="en-US" dirty="0"/>
          </a:p>
        </p:txBody>
      </p:sp>
      <p:sp>
        <p:nvSpPr>
          <p:cNvPr id="4" name="Espace réservé du texte 22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>
            <a:normAutofit lnSpcReduction="10000"/>
          </a:bodyPr>
          <a:lstStyle>
            <a:lvl1pPr marL="252009" indent="-252009">
              <a:buNone/>
              <a:defRPr lang="fr-FR" sz="8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F7B100"/>
              </a:buClr>
            </a:pPr>
            <a:r>
              <a:rPr lang="fr-FR" dirty="0"/>
              <a:t>DI-RC</a:t>
            </a:r>
          </a:p>
          <a:p>
            <a:pPr marL="0" lvl="0" indent="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F7B100"/>
              </a:buClr>
            </a:pPr>
            <a:r>
              <a:rPr lang="fr-FR"/>
              <a:t>Julie QUINIO</a:t>
            </a:r>
            <a:r>
              <a:rPr lang="fr-FR" dirty="0"/>
              <a:t/>
            </a:r>
            <a:br>
              <a:rPr lang="fr-FR" dirty="0"/>
            </a:br>
            <a:endParaRPr lang="fr-FR" dirty="0"/>
          </a:p>
        </p:txBody>
      </p:sp>
      <p:sp>
        <p:nvSpPr>
          <p:cNvPr id="5" name="Espace réservé du texte 22"/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>
            <a:normAutofit/>
          </a:bodyPr>
          <a:lstStyle>
            <a:lvl1pPr marL="252009" indent="-252009">
              <a:buNone/>
              <a:defRPr lang="fr-FR" sz="8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rgbClr val="F7B100"/>
              </a:buClr>
            </a:pPr>
            <a:r>
              <a:rPr lang="fr-FR" dirty="0"/>
              <a:t>02/10/2017</a:t>
            </a: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9324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236484" y="989250"/>
            <a:ext cx="8484430" cy="5074313"/>
          </a:xfrm>
        </p:spPr>
        <p:txBody>
          <a:bodyPr>
            <a:normAutofit/>
          </a:bodyPr>
          <a:lstStyle/>
          <a:p>
            <a:r>
              <a:rPr lang="en-US" sz="1600" dirty="0"/>
              <a:t>In DFM </a:t>
            </a:r>
            <a:r>
              <a:rPr lang="en-US" sz="1600" dirty="0" smtClean="0"/>
              <a:t>Admin, de </a:t>
            </a:r>
            <a:r>
              <a:rPr lang="en-US" sz="1600" dirty="0" err="1" smtClean="0"/>
              <a:t>parametrat</a:t>
            </a:r>
            <a:r>
              <a:rPr lang="en-US" sz="1600" dirty="0" smtClean="0"/>
              <a:t> </a:t>
            </a:r>
            <a:r>
              <a:rPr lang="en-US" sz="1600" dirty="0" err="1" smtClean="0"/>
              <a:t>utilizatorii</a:t>
            </a:r>
            <a:r>
              <a:rPr lang="en-US" sz="1600" dirty="0" smtClean="0"/>
              <a:t>:</a:t>
            </a:r>
          </a:p>
          <a:p>
            <a:pPr lvl="1"/>
            <a:r>
              <a:rPr lang="fr-FR" sz="1600" dirty="0" smtClean="0"/>
              <a:t>Pt </a:t>
            </a:r>
            <a:r>
              <a:rPr lang="fr-FR" sz="1600" dirty="0" err="1" smtClean="0"/>
              <a:t>fiecare</a:t>
            </a:r>
            <a:r>
              <a:rPr lang="fr-FR" sz="1600" dirty="0" smtClean="0"/>
              <a:t> </a:t>
            </a:r>
            <a:r>
              <a:rPr lang="fr-FR" sz="1600" dirty="0" err="1" smtClean="0"/>
              <a:t>utilizator</a:t>
            </a:r>
            <a:r>
              <a:rPr lang="fr-FR" sz="1600" dirty="0" smtClean="0"/>
              <a:t> DFM </a:t>
            </a:r>
            <a:r>
              <a:rPr lang="fr-FR" sz="1600" dirty="0" err="1" smtClean="0"/>
              <a:t>trebuie</a:t>
            </a:r>
            <a:r>
              <a:rPr lang="fr-FR" sz="1600" dirty="0" smtClean="0"/>
              <a:t> pus </a:t>
            </a:r>
            <a:r>
              <a:rPr lang="fr-FR" sz="1600" dirty="0" err="1" smtClean="0"/>
              <a:t>codul</a:t>
            </a:r>
            <a:r>
              <a:rPr lang="fr-FR" sz="1600" dirty="0" smtClean="0"/>
              <a:t> </a:t>
            </a:r>
            <a:r>
              <a:rPr lang="fr-FR" sz="1600" dirty="0" err="1" smtClean="0"/>
              <a:t>receptioner</a:t>
            </a:r>
            <a:endParaRPr lang="en-US" sz="16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onfigurare</a:t>
            </a:r>
            <a:r>
              <a:rPr lang="fr-FR" dirty="0" smtClean="0"/>
              <a:t> </a:t>
            </a:r>
            <a:r>
              <a:rPr lang="fr-FR" dirty="0" err="1" smtClean="0"/>
              <a:t>utilizatori</a:t>
            </a:r>
            <a:r>
              <a:rPr lang="fr-FR" dirty="0" smtClean="0"/>
              <a:t> in DFM ADMIN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844" y="1662557"/>
            <a:ext cx="6810007" cy="2368979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000-0000030000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267" y="3355529"/>
            <a:ext cx="7785627" cy="3069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558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251869" y="936241"/>
            <a:ext cx="8484430" cy="5074313"/>
          </a:xfrm>
        </p:spPr>
        <p:txBody>
          <a:bodyPr>
            <a:normAutofit/>
          </a:bodyPr>
          <a:lstStyle/>
          <a:p>
            <a:r>
              <a:rPr lang="fr-FR" sz="1600" dirty="0" smtClean="0"/>
              <a:t>In DFM Admin – de pus </a:t>
            </a:r>
            <a:r>
              <a:rPr lang="fr-FR" sz="1600" dirty="0" err="1" smtClean="0"/>
              <a:t>prestatiile</a:t>
            </a:r>
            <a:r>
              <a:rPr lang="fr-FR" sz="1600" dirty="0" smtClean="0"/>
              <a:t> </a:t>
            </a:r>
            <a:r>
              <a:rPr lang="fr-FR" sz="1600" dirty="0" err="1" smtClean="0"/>
              <a:t>complementare</a:t>
            </a:r>
            <a:r>
              <a:rPr lang="fr-FR" sz="1600" dirty="0" smtClean="0"/>
              <a:t> </a:t>
            </a:r>
            <a:r>
              <a:rPr lang="fr-FR" sz="1600" dirty="0" err="1" smtClean="0"/>
              <a:t>sau</a:t>
            </a:r>
            <a:r>
              <a:rPr lang="fr-FR" sz="1600" dirty="0" smtClean="0"/>
              <a:t> de </a:t>
            </a:r>
            <a:r>
              <a:rPr lang="fr-FR" sz="1600" dirty="0" err="1" smtClean="0"/>
              <a:t>realizat</a:t>
            </a:r>
            <a:r>
              <a:rPr lang="fr-FR" sz="1600" dirty="0" smtClean="0"/>
              <a:t> un </a:t>
            </a:r>
            <a:r>
              <a:rPr lang="fr-FR" sz="1600" dirty="0" err="1" smtClean="0"/>
              <a:t>exemplu</a:t>
            </a:r>
            <a:r>
              <a:rPr lang="fr-FR" sz="1600" dirty="0" smtClean="0"/>
              <a:t> </a:t>
            </a:r>
            <a:r>
              <a:rPr lang="fr-FR" sz="1600" dirty="0" err="1" smtClean="0"/>
              <a:t>impreuna</a:t>
            </a:r>
            <a:r>
              <a:rPr lang="fr-FR" sz="1600" dirty="0" smtClean="0"/>
              <a:t> </a:t>
            </a:r>
            <a:r>
              <a:rPr lang="fr-FR" sz="1600" dirty="0" err="1" smtClean="0"/>
              <a:t>cu</a:t>
            </a:r>
            <a:r>
              <a:rPr lang="fr-FR" sz="1600" dirty="0" smtClean="0"/>
              <a:t> COSI :</a:t>
            </a:r>
            <a:endParaRPr lang="en-US" sz="16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Onfigurare</a:t>
            </a:r>
            <a:r>
              <a:rPr lang="fr-FR" dirty="0" smtClean="0"/>
              <a:t> </a:t>
            </a:r>
            <a:r>
              <a:rPr lang="fr-FR" dirty="0" err="1" smtClean="0"/>
              <a:t>prestatii</a:t>
            </a:r>
            <a:r>
              <a:rPr lang="fr-FR" dirty="0" smtClean="0"/>
              <a:t> SUPLIMENTARE </a:t>
            </a:r>
            <a:r>
              <a:rPr lang="fr-FR" dirty="0"/>
              <a:t>in DFM ADMIN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869" y="1499278"/>
            <a:ext cx="8004313" cy="2945650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000-0000060000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364" y="3362503"/>
            <a:ext cx="8586637" cy="3233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3936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/>
        </p:nvGrpSpPr>
        <p:grpSpPr>
          <a:xfrm>
            <a:off x="1814554" y="4118662"/>
            <a:ext cx="1751980" cy="841923"/>
            <a:chOff x="3184779" y="5102511"/>
            <a:chExt cx="2743200" cy="1284720"/>
          </a:xfrm>
        </p:grpSpPr>
        <p:pic>
          <p:nvPicPr>
            <p:cNvPr id="5" name="Graphique 4" descr="Écran">
              <a:extLst>
                <a:ext uri="{FF2B5EF4-FFF2-40B4-BE49-F238E27FC236}">
                  <a16:creationId xmlns="" xmlns:a16="http://schemas.microsoft.com/office/drawing/2014/main" id="{E2D12C57-334A-4A6B-A33E-E2B1037D5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013579" y="5102511"/>
              <a:ext cx="914400" cy="914400"/>
            </a:xfrm>
            <a:prstGeom prst="rect">
              <a:avLst/>
            </a:prstGeom>
          </p:spPr>
        </p:pic>
        <p:pic>
          <p:nvPicPr>
            <p:cNvPr id="6" name="Graphique 5" descr="Écran">
              <a:extLst>
                <a:ext uri="{FF2B5EF4-FFF2-40B4-BE49-F238E27FC236}">
                  <a16:creationId xmlns="" xmlns:a16="http://schemas.microsoft.com/office/drawing/2014/main" id="{E6834F42-CBBD-4B0E-82BE-B3EC073F42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099179" y="5472831"/>
              <a:ext cx="914400" cy="914400"/>
            </a:xfrm>
            <a:prstGeom prst="rect">
              <a:avLst/>
            </a:prstGeom>
          </p:spPr>
        </p:pic>
        <p:pic>
          <p:nvPicPr>
            <p:cNvPr id="7" name="Graphique 6" descr="Écran">
              <a:extLst>
                <a:ext uri="{FF2B5EF4-FFF2-40B4-BE49-F238E27FC236}">
                  <a16:creationId xmlns="" xmlns:a16="http://schemas.microsoft.com/office/drawing/2014/main" id="{8CCF5A65-D3DD-47C0-A000-7CD95C981C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184779" y="5175691"/>
              <a:ext cx="914400" cy="914400"/>
            </a:xfrm>
            <a:prstGeom prst="rect">
              <a:avLst/>
            </a:prstGeom>
          </p:spPr>
        </p:pic>
      </p:grpSp>
      <p:sp>
        <p:nvSpPr>
          <p:cNvPr id="19" name="ZoneTexte 18">
            <a:extLst>
              <a:ext uri="{FF2B5EF4-FFF2-40B4-BE49-F238E27FC236}">
                <a16:creationId xmlns="" xmlns:a16="http://schemas.microsoft.com/office/drawing/2014/main" id="{D2A83765-1588-4849-8720-588BC35F8542}"/>
              </a:ext>
            </a:extLst>
          </p:cNvPr>
          <p:cNvSpPr txBox="1"/>
          <p:nvPr/>
        </p:nvSpPr>
        <p:spPr>
          <a:xfrm>
            <a:off x="3579207" y="4088307"/>
            <a:ext cx="53579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/>
              <a:t>Post </a:t>
            </a:r>
            <a:r>
              <a:rPr lang="fr-FR" sz="1400" b="1" dirty="0" err="1" smtClean="0"/>
              <a:t>utilizator</a:t>
            </a:r>
            <a:endParaRPr lang="fr-FR" sz="1400" b="1" dirty="0"/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/>
              <a:t>Vérification des </a:t>
            </a:r>
            <a:r>
              <a:rPr lang="fr-FR" sz="1400" dirty="0" err="1"/>
              <a:t>pré-requis</a:t>
            </a:r>
            <a:endParaRPr lang="fr-FR" sz="1400" dirty="0"/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/>
              <a:t>Insertion du token</a:t>
            </a:r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/>
              <a:t>Installation du Kit </a:t>
            </a:r>
            <a:r>
              <a:rPr lang="fr-FR" sz="1400" dirty="0" err="1"/>
              <a:t>Vectury</a:t>
            </a:r>
            <a:r>
              <a:rPr lang="fr-FR" sz="1400" dirty="0"/>
              <a:t> (</a:t>
            </a:r>
            <a:r>
              <a:rPr lang="fr-FR" sz="1400" dirty="0" err="1"/>
              <a:t>Vectury</a:t>
            </a:r>
            <a:r>
              <a:rPr lang="fr-FR" sz="1400" dirty="0"/>
              <a:t> Silent + autorité CA Client)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="" xmlns:a16="http://schemas.microsoft.com/office/drawing/2014/main" id="{4AC878D4-3709-470B-B568-10295C56D240}"/>
              </a:ext>
            </a:extLst>
          </p:cNvPr>
          <p:cNvSpPr txBox="1"/>
          <p:nvPr/>
        </p:nvSpPr>
        <p:spPr>
          <a:xfrm>
            <a:off x="2426803" y="2564953"/>
            <a:ext cx="53169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/>
              <a:t>Server </a:t>
            </a:r>
            <a:r>
              <a:rPr lang="fr-FR" sz="1400" b="1" dirty="0"/>
              <a:t>TSE</a:t>
            </a:r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 err="1" smtClean="0"/>
              <a:t>Verificare</a:t>
            </a:r>
            <a:r>
              <a:rPr lang="fr-FR" sz="1400" dirty="0" smtClean="0"/>
              <a:t> </a:t>
            </a:r>
            <a:r>
              <a:rPr lang="fr-FR" sz="1400" dirty="0" err="1" smtClean="0"/>
              <a:t>pre-requis</a:t>
            </a:r>
            <a:endParaRPr lang="fr-FR" sz="1400" dirty="0"/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 err="1" smtClean="0"/>
              <a:t>Instalare</a:t>
            </a:r>
            <a:r>
              <a:rPr lang="fr-FR" sz="1400" dirty="0" smtClean="0"/>
              <a:t> Kit </a:t>
            </a:r>
            <a:r>
              <a:rPr lang="fr-FR" sz="1400" dirty="0" err="1"/>
              <a:t>Vectury</a:t>
            </a:r>
            <a:r>
              <a:rPr lang="fr-FR" sz="1400" dirty="0"/>
              <a:t> (</a:t>
            </a:r>
            <a:r>
              <a:rPr lang="fr-FR" sz="1400" dirty="0" err="1"/>
              <a:t>Vectury</a:t>
            </a:r>
            <a:r>
              <a:rPr lang="fr-FR" sz="1400" dirty="0"/>
              <a:t> Silent + </a:t>
            </a:r>
            <a:r>
              <a:rPr lang="fr-FR" sz="1400" dirty="0" err="1" smtClean="0"/>
              <a:t>autoritae</a:t>
            </a:r>
            <a:r>
              <a:rPr lang="fr-FR" sz="1400" dirty="0" smtClean="0"/>
              <a:t> </a:t>
            </a:r>
            <a:r>
              <a:rPr lang="fr-FR" sz="1400" dirty="0"/>
              <a:t>CA Client)</a:t>
            </a:r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 err="1" smtClean="0"/>
              <a:t>Configurare</a:t>
            </a:r>
            <a:r>
              <a:rPr lang="fr-FR" sz="1400" dirty="0" smtClean="0"/>
              <a:t> host local</a:t>
            </a:r>
            <a:endParaRPr lang="fr-FR" sz="1400" dirty="0"/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 err="1" smtClean="0"/>
              <a:t>Parametraje</a:t>
            </a:r>
            <a:r>
              <a:rPr lang="fr-FR" sz="1400" dirty="0" smtClean="0"/>
              <a:t> </a:t>
            </a:r>
            <a:r>
              <a:rPr lang="fr-FR" sz="1400" dirty="0"/>
              <a:t>DMS</a:t>
            </a:r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 err="1" smtClean="0"/>
              <a:t>Parametraje</a:t>
            </a:r>
            <a:r>
              <a:rPr lang="fr-FR" sz="1400" dirty="0" smtClean="0"/>
              <a:t> </a:t>
            </a:r>
            <a:r>
              <a:rPr lang="fr-FR" sz="1400" dirty="0"/>
              <a:t>I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="" xmlns:a16="http://schemas.microsoft.com/office/drawing/2014/main" id="{203C4839-ABEB-44D4-91DD-A59684DD1A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2306" y="2532212"/>
            <a:ext cx="1224497" cy="1224497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="" xmlns:a16="http://schemas.microsoft.com/office/drawing/2014/main" id="{1E531657-21DE-4DFA-B39B-73F5489CEE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490" y="1414203"/>
            <a:ext cx="1025754" cy="1025754"/>
          </a:xfrm>
          <a:prstGeom prst="rect">
            <a:avLst/>
          </a:prstGeom>
        </p:spPr>
      </p:pic>
      <p:sp>
        <p:nvSpPr>
          <p:cNvPr id="24" name="ZoneTexte 23">
            <a:extLst>
              <a:ext uri="{FF2B5EF4-FFF2-40B4-BE49-F238E27FC236}">
                <a16:creationId xmlns="" xmlns:a16="http://schemas.microsoft.com/office/drawing/2014/main" id="{770DAB7D-7789-413E-A1BD-49410837BD17}"/>
              </a:ext>
            </a:extLst>
          </p:cNvPr>
          <p:cNvSpPr txBox="1"/>
          <p:nvPr/>
        </p:nvSpPr>
        <p:spPr>
          <a:xfrm>
            <a:off x="1484244" y="1450026"/>
            <a:ext cx="50226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/>
              <a:t>Server </a:t>
            </a:r>
            <a:r>
              <a:rPr lang="fr-FR" sz="1400" b="1" dirty="0"/>
              <a:t>web</a:t>
            </a:r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 err="1" smtClean="0"/>
              <a:t>Installare</a:t>
            </a:r>
            <a:r>
              <a:rPr lang="fr-FR" sz="1400" dirty="0" smtClean="0"/>
              <a:t> </a:t>
            </a:r>
            <a:r>
              <a:rPr lang="fr-FR" sz="1400" dirty="0" err="1" smtClean="0"/>
              <a:t>Vectury</a:t>
            </a:r>
            <a:r>
              <a:rPr lang="fr-FR" sz="1400" dirty="0" smtClean="0"/>
              <a:t> </a:t>
            </a:r>
            <a:r>
              <a:rPr lang="fr-FR" sz="1400" dirty="0"/>
              <a:t>CA – G2 (3 fichiers .</a:t>
            </a:r>
            <a:r>
              <a:rPr lang="fr-FR" sz="1400" dirty="0" err="1"/>
              <a:t>pem</a:t>
            </a:r>
            <a:r>
              <a:rPr lang="fr-FR" sz="1400" dirty="0"/>
              <a:t>)</a:t>
            </a:r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 err="1" smtClean="0"/>
              <a:t>Cerere</a:t>
            </a:r>
            <a:r>
              <a:rPr lang="fr-FR" sz="1400" dirty="0" smtClean="0"/>
              <a:t> certificat</a:t>
            </a:r>
            <a:r>
              <a:rPr lang="fr-FR" sz="1400" dirty="0" smtClean="0"/>
              <a:t> </a:t>
            </a:r>
            <a:r>
              <a:rPr lang="fr-FR" sz="1400" dirty="0"/>
              <a:t>CSR</a:t>
            </a:r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 err="1" smtClean="0"/>
              <a:t>Instalare</a:t>
            </a:r>
            <a:r>
              <a:rPr lang="fr-FR" sz="1400" dirty="0" smtClean="0"/>
              <a:t> certificat </a:t>
            </a:r>
            <a:r>
              <a:rPr lang="fr-FR" sz="1400" dirty="0" err="1" smtClean="0"/>
              <a:t>pe</a:t>
            </a:r>
            <a:r>
              <a:rPr lang="fr-FR" sz="1400" dirty="0" smtClean="0"/>
              <a:t> server</a:t>
            </a:r>
            <a:endParaRPr lang="fr-FR" sz="14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236484" y="245674"/>
            <a:ext cx="8486398" cy="464024"/>
          </a:xfrm>
        </p:spPr>
        <p:txBody>
          <a:bodyPr/>
          <a:lstStyle/>
          <a:p>
            <a:r>
              <a:rPr lang="fr-FR" sz="2800" dirty="0" smtClean="0"/>
              <a:t>REZUMAT ACTIUNI</a:t>
            </a:r>
            <a:endParaRPr lang="fr-FR" sz="2800" dirty="0"/>
          </a:p>
        </p:txBody>
      </p:sp>
      <p:sp>
        <p:nvSpPr>
          <p:cNvPr id="2" name="ZoneTexte 1"/>
          <p:cNvSpPr txBox="1"/>
          <p:nvPr/>
        </p:nvSpPr>
        <p:spPr>
          <a:xfrm>
            <a:off x="131193" y="82050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fr-FR" sz="1800" b="1" dirty="0" err="1" smtClean="0">
                <a:solidFill>
                  <a:schemeClr val="tx1"/>
                </a:solidFill>
              </a:rPr>
              <a:t>Sunt</a:t>
            </a:r>
            <a:r>
              <a:rPr lang="fr-FR" sz="1800" b="1" dirty="0" smtClean="0">
                <a:solidFill>
                  <a:schemeClr val="tx1"/>
                </a:solidFill>
              </a:rPr>
              <a:t> </a:t>
            </a:r>
            <a:r>
              <a:rPr lang="fr-FR" sz="1800" b="1" dirty="0" err="1" smtClean="0">
                <a:solidFill>
                  <a:schemeClr val="tx1"/>
                </a:solidFill>
              </a:rPr>
              <a:t>patru</a:t>
            </a:r>
            <a:r>
              <a:rPr lang="fr-FR" sz="1800" b="1" dirty="0" smtClean="0">
                <a:solidFill>
                  <a:schemeClr val="tx1"/>
                </a:solidFill>
              </a:rPr>
              <a:t> </a:t>
            </a:r>
            <a:r>
              <a:rPr lang="fr-FR" sz="1800" b="1" dirty="0" err="1" smtClean="0">
                <a:solidFill>
                  <a:schemeClr val="tx1"/>
                </a:solidFill>
              </a:rPr>
              <a:t>tipuri</a:t>
            </a:r>
            <a:r>
              <a:rPr lang="fr-FR" sz="1800" b="1" dirty="0" smtClean="0">
                <a:solidFill>
                  <a:schemeClr val="tx1"/>
                </a:solidFill>
              </a:rPr>
              <a:t> de </a:t>
            </a:r>
            <a:r>
              <a:rPr lang="fr-FR" sz="1800" b="1" dirty="0" err="1" smtClean="0">
                <a:solidFill>
                  <a:schemeClr val="tx1"/>
                </a:solidFill>
              </a:rPr>
              <a:t>actiuni</a:t>
            </a:r>
            <a:r>
              <a:rPr lang="fr-FR" sz="1800" b="1" dirty="0" smtClean="0">
                <a:solidFill>
                  <a:schemeClr val="tx1"/>
                </a:solidFill>
              </a:rPr>
              <a:t> : la </a:t>
            </a:r>
            <a:r>
              <a:rPr lang="fr-FR" sz="1800" b="1" dirty="0" err="1" smtClean="0">
                <a:solidFill>
                  <a:schemeClr val="tx1"/>
                </a:solidFill>
              </a:rPr>
              <a:t>nivel</a:t>
            </a:r>
            <a:r>
              <a:rPr lang="fr-FR" sz="1800" b="1" dirty="0" smtClean="0">
                <a:solidFill>
                  <a:schemeClr val="tx1"/>
                </a:solidFill>
              </a:rPr>
              <a:t> de server web, la </a:t>
            </a:r>
            <a:r>
              <a:rPr lang="fr-FR" sz="1800" b="1" dirty="0" err="1" smtClean="0">
                <a:solidFill>
                  <a:schemeClr val="tx1"/>
                </a:solidFill>
              </a:rPr>
              <a:t>nivel</a:t>
            </a:r>
            <a:r>
              <a:rPr lang="fr-FR" sz="1800" b="1" dirty="0" smtClean="0">
                <a:solidFill>
                  <a:schemeClr val="tx1"/>
                </a:solidFill>
              </a:rPr>
              <a:t> de server TSE,</a:t>
            </a:r>
          </a:p>
          <a:p>
            <a:r>
              <a:rPr lang="fr-FR" sz="1800" b="1" dirty="0" smtClean="0">
                <a:solidFill>
                  <a:schemeClr val="tx1"/>
                </a:solidFill>
              </a:rPr>
              <a:t>la </a:t>
            </a:r>
            <a:r>
              <a:rPr lang="fr-FR" sz="1800" b="1" dirty="0" err="1" smtClean="0">
                <a:solidFill>
                  <a:schemeClr val="tx1"/>
                </a:solidFill>
              </a:rPr>
              <a:t>nivel</a:t>
            </a:r>
            <a:r>
              <a:rPr lang="fr-FR" sz="1800" b="1" dirty="0" smtClean="0">
                <a:solidFill>
                  <a:schemeClr val="tx1"/>
                </a:solidFill>
              </a:rPr>
              <a:t> de post </a:t>
            </a:r>
            <a:r>
              <a:rPr lang="fr-FR" sz="1800" b="1" dirty="0" err="1" smtClean="0"/>
              <a:t>U</a:t>
            </a:r>
            <a:r>
              <a:rPr lang="fr-FR" sz="1800" b="1" dirty="0" err="1" smtClean="0">
                <a:solidFill>
                  <a:schemeClr val="tx1"/>
                </a:solidFill>
              </a:rPr>
              <a:t>tilizator</a:t>
            </a:r>
            <a:r>
              <a:rPr lang="fr-FR" sz="1800" b="1" dirty="0" smtClean="0">
                <a:solidFill>
                  <a:schemeClr val="tx1"/>
                </a:solidFill>
              </a:rPr>
              <a:t> si in DFM Web Admin</a:t>
            </a:r>
            <a:endParaRPr lang="en-US" sz="1800" b="1" dirty="0" err="1" smtClean="0">
              <a:solidFill>
                <a:schemeClr val="tx1"/>
              </a:solidFill>
            </a:endParaRPr>
          </a:p>
        </p:txBody>
      </p:sp>
      <p:pic>
        <p:nvPicPr>
          <p:cNvPr id="13" name="Picture 8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89103" y="5287392"/>
            <a:ext cx="1604602" cy="71931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ZoneTexte 13">
            <a:extLst>
              <a:ext uri="{FF2B5EF4-FFF2-40B4-BE49-F238E27FC236}">
                <a16:creationId xmlns="" xmlns:a16="http://schemas.microsoft.com/office/drawing/2014/main" id="{D2A83765-1588-4849-8720-588BC35F8542}"/>
              </a:ext>
            </a:extLst>
          </p:cNvPr>
          <p:cNvSpPr txBox="1"/>
          <p:nvPr/>
        </p:nvSpPr>
        <p:spPr>
          <a:xfrm>
            <a:off x="4479683" y="5167295"/>
            <a:ext cx="426835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/>
              <a:t>DFM Admin</a:t>
            </a:r>
            <a:endParaRPr lang="fr-FR" sz="1400" b="1" dirty="0"/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 err="1" smtClean="0"/>
              <a:t>Nume</a:t>
            </a:r>
            <a:r>
              <a:rPr lang="fr-FR" sz="1400" dirty="0" smtClean="0"/>
              <a:t> </a:t>
            </a:r>
            <a:r>
              <a:rPr lang="fr-FR" sz="1400" dirty="0" err="1" smtClean="0"/>
              <a:t>DMS,Interfata</a:t>
            </a:r>
            <a:r>
              <a:rPr lang="fr-FR" sz="1400" dirty="0" smtClean="0"/>
              <a:t> DMS, url DMS, API-DMS</a:t>
            </a:r>
            <a:endParaRPr lang="fr-FR" sz="1400" dirty="0"/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 err="1" smtClean="0"/>
              <a:t>Utlizatori</a:t>
            </a:r>
            <a:r>
              <a:rPr lang="fr-FR" sz="1400" dirty="0" smtClean="0"/>
              <a:t> – </a:t>
            </a:r>
            <a:r>
              <a:rPr lang="fr-FR" sz="1400" dirty="0" err="1" smtClean="0"/>
              <a:t>cod</a:t>
            </a:r>
            <a:r>
              <a:rPr lang="fr-FR" sz="1400" dirty="0" smtClean="0"/>
              <a:t> </a:t>
            </a:r>
            <a:r>
              <a:rPr lang="fr-FR" sz="1400" dirty="0" err="1" smtClean="0"/>
              <a:t>receptioner</a:t>
            </a:r>
            <a:endParaRPr lang="fr-FR" sz="1400" dirty="0"/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 err="1" smtClean="0"/>
              <a:t>Manopera</a:t>
            </a:r>
            <a:r>
              <a:rPr lang="fr-FR" sz="1400" dirty="0" smtClean="0"/>
              <a:t> Dacia</a:t>
            </a:r>
          </a:p>
          <a:p>
            <a:pPr marL="210026" indent="-210026">
              <a:buFont typeface="Arial" panose="020B0604020202020204" pitchFamily="34" charset="0"/>
              <a:buChar char="•"/>
            </a:pPr>
            <a:r>
              <a:rPr lang="fr-FR" sz="1400" dirty="0" err="1" smtClean="0"/>
              <a:t>Prstatii</a:t>
            </a:r>
            <a:r>
              <a:rPr lang="fr-FR" sz="1400" dirty="0" smtClean="0"/>
              <a:t> </a:t>
            </a:r>
            <a:r>
              <a:rPr lang="fr-FR" sz="1400" dirty="0" err="1" smtClean="0"/>
              <a:t>complementare</a:t>
            </a:r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12991931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236484" y="1235661"/>
            <a:ext cx="8218403" cy="5074313"/>
          </a:xfrm>
        </p:spPr>
        <p:txBody>
          <a:bodyPr>
            <a:normAutofit/>
          </a:bodyPr>
          <a:lstStyle/>
          <a:p>
            <a:r>
              <a:rPr lang="fr-FR" sz="1600" b="0" dirty="0" smtClean="0"/>
              <a:t>FARA </a:t>
            </a:r>
            <a:r>
              <a:rPr lang="fr-FR" sz="1600" b="0" dirty="0" err="1" smtClean="0"/>
              <a:t>caractere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speciale</a:t>
            </a:r>
            <a:endParaRPr lang="fr-FR" sz="1600" b="0" dirty="0"/>
          </a:p>
          <a:p>
            <a:r>
              <a:rPr lang="fr-FR" sz="1600" b="0" dirty="0" err="1" smtClean="0"/>
              <a:t>Fara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spatii</a:t>
            </a:r>
            <a:endParaRPr lang="fr-FR" sz="1600" b="0" dirty="0"/>
          </a:p>
          <a:p>
            <a:r>
              <a:rPr lang="fr-FR" sz="1600" b="0" dirty="0" smtClean="0"/>
              <a:t>In </a:t>
            </a:r>
            <a:r>
              <a:rPr lang="fr-FR" sz="1600" b="0" dirty="0" err="1" smtClean="0"/>
              <a:t>rosu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cee</a:t>
            </a:r>
            <a:r>
              <a:rPr lang="fr-FR" sz="1600" b="0" dirty="0" smtClean="0"/>
              <a:t> ace </a:t>
            </a:r>
            <a:r>
              <a:rPr lang="fr-FR" sz="1600" b="0" dirty="0" err="1" smtClean="0"/>
              <a:t>trebuie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modificat</a:t>
            </a:r>
            <a:endParaRPr lang="fr-FR" sz="1600" b="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Format </a:t>
            </a:r>
            <a:r>
              <a:rPr lang="fr-FR" dirty="0" err="1" smtClean="0"/>
              <a:t>cerere</a:t>
            </a:r>
            <a:r>
              <a:rPr lang="fr-FR" dirty="0" smtClean="0"/>
              <a:t>  </a:t>
            </a:r>
            <a:r>
              <a:rPr lang="fr-FR" dirty="0" err="1"/>
              <a:t>csr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015723"/>
              </p:ext>
            </p:extLst>
          </p:nvPr>
        </p:nvGraphicFramePr>
        <p:xfrm>
          <a:off x="518330" y="2451479"/>
          <a:ext cx="7219214" cy="296672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360960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60960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fr-FR" b="0" dirty="0"/>
                        <a:t>Nom du fichier requêt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fr-FR" b="0" dirty="0">
                          <a:solidFill>
                            <a:srgbClr val="FF0000"/>
                          </a:solidFill>
                        </a:rPr>
                        <a:t>datafirst01</a:t>
                      </a:r>
                      <a:r>
                        <a:rPr lang="fr-FR" b="0" dirty="0"/>
                        <a:t>.dms.dcs2.renault.com.csr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ommon </a:t>
                      </a:r>
                      <a:r>
                        <a:rPr lang="fr-FR" dirty="0" err="1"/>
                        <a:t>name</a:t>
                      </a:r>
                      <a:r>
                        <a:rPr lang="fr-FR" dirty="0"/>
                        <a:t> 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>
                          <a:solidFill>
                            <a:srgbClr val="FF0000"/>
                          </a:solidFill>
                        </a:rPr>
                        <a:t>datafirst01</a:t>
                      </a:r>
                      <a:r>
                        <a:rPr lang="fr-FR" dirty="0"/>
                        <a:t>.dms.dcs2.renault.com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it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Organisation </a:t>
                      </a:r>
                      <a:r>
                        <a:rPr lang="fr-FR" dirty="0" err="1"/>
                        <a:t>name</a:t>
                      </a:r>
                      <a:r>
                        <a:rPr lang="fr-FR" dirty="0"/>
                        <a:t> </a:t>
                      </a:r>
                      <a:r>
                        <a:rPr lang="fr-FR" i="1" dirty="0"/>
                        <a:t>(MAJ) 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fr-FR" b="1" dirty="0">
                          <a:solidFill>
                            <a:srgbClr val="FF0000"/>
                          </a:solidFill>
                        </a:rPr>
                        <a:t>DATAFIRST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Country </a:t>
                      </a:r>
                      <a:r>
                        <a:rPr lang="fr-FR" dirty="0" err="1"/>
                        <a:t>name</a:t>
                      </a:r>
                      <a:r>
                        <a:rPr lang="fr-FR" dirty="0"/>
                        <a:t> </a:t>
                      </a:r>
                      <a:r>
                        <a:rPr lang="fr-FR" i="1" dirty="0"/>
                        <a:t>(MAJ,</a:t>
                      </a:r>
                      <a:r>
                        <a:rPr lang="fr-FR" i="1" baseline="0" dirty="0"/>
                        <a:t> in English</a:t>
                      </a:r>
                      <a:r>
                        <a:rPr lang="fr-FR" i="1" dirty="0"/>
                        <a:t>) 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ROMANIA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State/Province </a:t>
                      </a:r>
                      <a:r>
                        <a:rPr lang="fr-FR" i="1" dirty="0"/>
                        <a:t>(MAJ) 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dirty="0"/>
                        <a:t>Email</a:t>
                      </a:r>
                      <a:r>
                        <a:rPr lang="fr-FR" baseline="0" dirty="0"/>
                        <a:t> </a:t>
                      </a:r>
                      <a:r>
                        <a:rPr lang="fr-FR" baseline="0" dirty="0" err="1"/>
                        <a:t>address</a:t>
                      </a:r>
                      <a:endParaRPr lang="fr-FR" baseline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baseline="0" dirty="0"/>
                        <a:t>Organisation Unit </a:t>
                      </a:r>
                      <a:r>
                        <a:rPr lang="fr-FR" i="1" dirty="0"/>
                        <a:t>(MAJ)</a:t>
                      </a:r>
                      <a:endParaRPr lang="fr-FR" i="1" baseline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fr-FR" b="1" dirty="0">
                          <a:solidFill>
                            <a:srgbClr val="FF0000"/>
                          </a:solidFill>
                        </a:rPr>
                        <a:t>WIZROM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26124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r>
              <a:rPr lang="fr-FR" sz="1600" dirty="0" smtClean="0">
                <a:solidFill>
                  <a:srgbClr val="000000"/>
                </a:solidFill>
              </a:rPr>
              <a:t>CINE ? </a:t>
            </a:r>
            <a:r>
              <a:rPr lang="fr-FR" sz="1600" b="0" dirty="0" smtClean="0">
                <a:solidFill>
                  <a:srgbClr val="000000"/>
                </a:solidFill>
              </a:rPr>
              <a:t>COSI </a:t>
            </a:r>
            <a:r>
              <a:rPr lang="fr-FR" sz="1600" b="0" dirty="0" err="1" smtClean="0">
                <a:solidFill>
                  <a:srgbClr val="000000"/>
                </a:solidFill>
              </a:rPr>
              <a:t>sau</a:t>
            </a:r>
            <a:r>
              <a:rPr lang="fr-FR" sz="1600" b="0" dirty="0" smtClean="0">
                <a:solidFill>
                  <a:srgbClr val="000000"/>
                </a:solidFill>
              </a:rPr>
              <a:t> Editor DMS</a:t>
            </a:r>
            <a:endParaRPr lang="fr-FR" sz="1600" b="0" dirty="0">
              <a:solidFill>
                <a:srgbClr val="000000"/>
              </a:solidFill>
            </a:endParaRPr>
          </a:p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r>
              <a:rPr lang="fr-FR" sz="1600" dirty="0" smtClean="0">
                <a:solidFill>
                  <a:srgbClr val="000000"/>
                </a:solidFill>
              </a:rPr>
              <a:t>CAND ? </a:t>
            </a:r>
            <a:r>
              <a:rPr lang="fr-FR" sz="1600" dirty="0" err="1" smtClean="0">
                <a:solidFill>
                  <a:srgbClr val="000000"/>
                </a:solidFill>
              </a:rPr>
              <a:t>Inainte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b="0" dirty="0" smtClean="0">
                <a:solidFill>
                  <a:srgbClr val="000000"/>
                </a:solidFill>
              </a:rPr>
              <a:t>de </a:t>
            </a:r>
            <a:r>
              <a:rPr lang="fr-FR" sz="1600" b="0" dirty="0" err="1" smtClean="0">
                <a:solidFill>
                  <a:srgbClr val="000000"/>
                </a:solidFill>
              </a:rPr>
              <a:t>implementare</a:t>
            </a:r>
            <a:endParaRPr lang="fr-FR" sz="1600" b="0" dirty="0">
              <a:solidFill>
                <a:srgbClr val="000000"/>
              </a:solidFill>
            </a:endParaRPr>
          </a:p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endParaRPr lang="fr-FR" sz="1600" dirty="0">
              <a:solidFill>
                <a:srgbClr val="000000"/>
              </a:solidFill>
            </a:endParaRPr>
          </a:p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r>
              <a:rPr lang="fr-FR" sz="1600" dirty="0">
                <a:solidFill>
                  <a:srgbClr val="000000"/>
                </a:solidFill>
              </a:rPr>
              <a:t>Prérequis : </a:t>
            </a:r>
          </a:p>
          <a:p>
            <a:pPr lvl="0"/>
            <a:r>
              <a:rPr lang="fr-FR" sz="1600" dirty="0" smtClean="0"/>
              <a:t>Tip </a:t>
            </a:r>
            <a:r>
              <a:rPr lang="fr-FR" sz="1600" dirty="0" err="1" smtClean="0"/>
              <a:t>masina</a:t>
            </a:r>
            <a:r>
              <a:rPr lang="fr-FR" sz="1600" dirty="0" smtClean="0"/>
              <a:t> </a:t>
            </a:r>
            <a:r>
              <a:rPr lang="fr-FR" sz="1600" dirty="0"/>
              <a:t>: </a:t>
            </a:r>
            <a:r>
              <a:rPr lang="fr-FR" sz="1600" b="0" dirty="0" err="1" smtClean="0"/>
              <a:t>fizica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sau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virtuala</a:t>
            </a:r>
            <a:r>
              <a:rPr lang="fr-FR" sz="1600" b="0" dirty="0" smtClean="0"/>
              <a:t> </a:t>
            </a:r>
            <a:r>
              <a:rPr lang="fr-FR" sz="1600" b="0" dirty="0"/>
              <a:t>(VDI, RDS)</a:t>
            </a:r>
          </a:p>
          <a:p>
            <a:pPr lvl="0"/>
            <a:r>
              <a:rPr lang="en-US" sz="1600" dirty="0"/>
              <a:t>OS : </a:t>
            </a:r>
            <a:r>
              <a:rPr lang="en-US" sz="1600" b="0" dirty="0"/>
              <a:t>Windows (7, 8.1, 10) (x32 </a:t>
            </a:r>
            <a:r>
              <a:rPr lang="en-US" sz="1600" b="0" dirty="0" err="1"/>
              <a:t>ou</a:t>
            </a:r>
            <a:r>
              <a:rPr lang="en-US" sz="1600" b="0" dirty="0"/>
              <a:t> x64)</a:t>
            </a:r>
            <a:endParaRPr lang="fr-FR" sz="1600" b="0" dirty="0"/>
          </a:p>
          <a:p>
            <a:pPr lvl="0"/>
            <a:r>
              <a:rPr lang="en-US" sz="1600" dirty="0" smtClean="0"/>
              <a:t>Navigator </a:t>
            </a:r>
            <a:r>
              <a:rPr lang="en-US" sz="1600" dirty="0"/>
              <a:t>web : </a:t>
            </a:r>
            <a:r>
              <a:rPr lang="en-US" sz="1600" b="0" dirty="0"/>
              <a:t>Internet Explorer 11</a:t>
            </a:r>
            <a:endParaRPr lang="fr-FR" sz="1600" b="0" dirty="0"/>
          </a:p>
          <a:p>
            <a:pPr lvl="0"/>
            <a:r>
              <a:rPr lang="en-US" sz="1600" dirty="0"/>
              <a:t>Microsoft Framework : </a:t>
            </a:r>
            <a:r>
              <a:rPr lang="en-US" sz="1600" b="0" dirty="0"/>
              <a:t>3.5 (</a:t>
            </a:r>
            <a:r>
              <a:rPr lang="en-US" sz="1600" b="0" dirty="0" smtClean="0"/>
              <a:t>minim) </a:t>
            </a:r>
            <a:r>
              <a:rPr lang="en-US" sz="1600" b="0" dirty="0" err="1" smtClean="0"/>
              <a:t>sau</a:t>
            </a:r>
            <a:r>
              <a:rPr lang="en-US" sz="1600" b="0" dirty="0" smtClean="0"/>
              <a:t> </a:t>
            </a:r>
            <a:r>
              <a:rPr lang="en-US" sz="1600" b="0" dirty="0"/>
              <a:t>4.5 (</a:t>
            </a:r>
            <a:r>
              <a:rPr lang="en-US" sz="1600" b="0" dirty="0" err="1" smtClean="0"/>
              <a:t>recomandat</a:t>
            </a:r>
            <a:r>
              <a:rPr lang="en-US" sz="1600" b="0" dirty="0" smtClean="0"/>
              <a:t>)</a:t>
            </a:r>
            <a:endParaRPr lang="fr-FR" sz="1600" dirty="0"/>
          </a:p>
          <a:p>
            <a:endParaRPr lang="fr-FR" sz="20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Verificari</a:t>
            </a:r>
            <a:r>
              <a:rPr lang="fr-FR" dirty="0" smtClean="0"/>
              <a:t> </a:t>
            </a:r>
            <a:r>
              <a:rPr lang="fr-FR" dirty="0"/>
              <a:t>prérequis </a:t>
            </a:r>
            <a:r>
              <a:rPr lang="fr-FR" dirty="0" smtClean="0"/>
              <a:t>la </a:t>
            </a:r>
            <a:r>
              <a:rPr lang="fr-FR" dirty="0" err="1" smtClean="0"/>
              <a:t>nivel</a:t>
            </a:r>
            <a:r>
              <a:rPr lang="fr-FR" dirty="0" smtClean="0"/>
              <a:t> </a:t>
            </a:r>
            <a:r>
              <a:rPr lang="fr-FR" dirty="0" smtClean="0"/>
              <a:t>pc </a:t>
            </a:r>
            <a:r>
              <a:rPr lang="fr-FR" dirty="0" err="1" smtClean="0"/>
              <a:t>utilizator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5377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r>
              <a:rPr lang="fr-FR" sz="1600" dirty="0">
                <a:solidFill>
                  <a:srgbClr val="000000"/>
                </a:solidFill>
              </a:rPr>
              <a:t>CINE ? </a:t>
            </a:r>
            <a:r>
              <a:rPr lang="fr-FR" sz="1600" b="0" dirty="0">
                <a:solidFill>
                  <a:srgbClr val="000000"/>
                </a:solidFill>
              </a:rPr>
              <a:t>COSI </a:t>
            </a:r>
            <a:r>
              <a:rPr lang="fr-FR" sz="1600" b="0" dirty="0" err="1">
                <a:solidFill>
                  <a:srgbClr val="000000"/>
                </a:solidFill>
              </a:rPr>
              <a:t>sau</a:t>
            </a:r>
            <a:r>
              <a:rPr lang="fr-FR" sz="1600" b="0" dirty="0">
                <a:solidFill>
                  <a:srgbClr val="000000"/>
                </a:solidFill>
              </a:rPr>
              <a:t> Editor DMS</a:t>
            </a:r>
          </a:p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r>
              <a:rPr lang="fr-FR" sz="1600" dirty="0">
                <a:solidFill>
                  <a:srgbClr val="000000"/>
                </a:solidFill>
              </a:rPr>
              <a:t>CAND ? </a:t>
            </a:r>
            <a:r>
              <a:rPr lang="fr-FR" sz="1600" dirty="0" smtClean="0">
                <a:solidFill>
                  <a:srgbClr val="000000"/>
                </a:solidFill>
              </a:rPr>
              <a:t>La </a:t>
            </a:r>
            <a:r>
              <a:rPr lang="fr-FR" sz="1600" dirty="0" err="1" smtClean="0">
                <a:solidFill>
                  <a:srgbClr val="000000"/>
                </a:solidFill>
              </a:rPr>
              <a:t>momentul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 err="1" smtClean="0">
                <a:solidFill>
                  <a:srgbClr val="000000"/>
                </a:solidFill>
              </a:rPr>
              <a:t>inserari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 err="1" smtClean="0">
                <a:solidFill>
                  <a:srgbClr val="000000"/>
                </a:solidFill>
              </a:rPr>
              <a:t>token-ului</a:t>
            </a:r>
            <a:endParaRPr lang="fr-FR" sz="1600" b="0" dirty="0">
              <a:solidFill>
                <a:srgbClr val="000000"/>
              </a:solidFill>
            </a:endParaRPr>
          </a:p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endParaRPr lang="fr-FR" sz="1600" dirty="0">
              <a:solidFill>
                <a:srgbClr val="000000"/>
              </a:solidFill>
            </a:endParaRPr>
          </a:p>
          <a:p>
            <a:pPr marL="0" lvl="0" indent="0">
              <a:buNone/>
            </a:pPr>
            <a:r>
              <a:rPr lang="en-US" sz="1600" dirty="0" smtClean="0"/>
              <a:t>DE INSTALAT</a:t>
            </a:r>
            <a:r>
              <a:rPr lang="en-US" sz="1600" dirty="0" smtClean="0"/>
              <a:t> </a:t>
            </a:r>
            <a:r>
              <a:rPr lang="en-US" sz="1600" dirty="0"/>
              <a:t>:</a:t>
            </a:r>
          </a:p>
          <a:p>
            <a:pPr lvl="0"/>
            <a:r>
              <a:rPr lang="en-US" sz="1600" dirty="0" err="1" smtClean="0"/>
              <a:t>Componente</a:t>
            </a:r>
            <a:r>
              <a:rPr lang="en-US" sz="1600" dirty="0" smtClean="0"/>
              <a:t>: </a:t>
            </a:r>
            <a:r>
              <a:rPr lang="en-US" sz="1600" b="0" dirty="0"/>
              <a:t>ActiveX, </a:t>
            </a:r>
            <a:r>
              <a:rPr lang="en-US" sz="1600" b="0" dirty="0" err="1"/>
              <a:t>ViewPoint</a:t>
            </a:r>
            <a:r>
              <a:rPr lang="en-US" sz="1600" b="0" dirty="0"/>
              <a:t> </a:t>
            </a:r>
            <a:r>
              <a:rPr lang="en-US" sz="1600" b="0" dirty="0" smtClean="0"/>
              <a:t>(</a:t>
            </a:r>
            <a:r>
              <a:rPr lang="en-US" sz="1600" b="0" dirty="0" smtClean="0"/>
              <a:t>se </a:t>
            </a:r>
            <a:r>
              <a:rPr lang="en-US" sz="1600" b="0" dirty="0" err="1" smtClean="0"/>
              <a:t>instaleaza</a:t>
            </a:r>
            <a:r>
              <a:rPr lang="en-US" sz="1600" b="0" dirty="0" smtClean="0"/>
              <a:t> la prima </a:t>
            </a:r>
            <a:r>
              <a:rPr lang="en-US" sz="1600" b="0" dirty="0" err="1" smtClean="0"/>
              <a:t>lansare</a:t>
            </a:r>
            <a:r>
              <a:rPr lang="en-US" sz="1600" b="0" dirty="0" smtClean="0"/>
              <a:t> a </a:t>
            </a:r>
            <a:r>
              <a:rPr lang="en-US" sz="1600" b="0" dirty="0" smtClean="0"/>
              <a:t>DFM-</a:t>
            </a:r>
            <a:r>
              <a:rPr lang="en-US" sz="1600" b="0" dirty="0" err="1" smtClean="0"/>
              <a:t>ului</a:t>
            </a:r>
            <a:r>
              <a:rPr lang="en-US" sz="1600" b="0" dirty="0" smtClean="0"/>
              <a:t>)</a:t>
            </a:r>
            <a:endParaRPr lang="fr-FR" sz="1600" b="0" dirty="0">
              <a:solidFill>
                <a:srgbClr val="FF0000"/>
              </a:solidFill>
            </a:endParaRPr>
          </a:p>
          <a:p>
            <a:pPr lvl="0"/>
            <a:r>
              <a:rPr lang="fr-FR" sz="1600" dirty="0"/>
              <a:t>Kit </a:t>
            </a:r>
            <a:r>
              <a:rPr lang="fr-FR" sz="1600" dirty="0" err="1"/>
              <a:t>Vectury</a:t>
            </a:r>
            <a:r>
              <a:rPr lang="fr-FR" sz="1600" dirty="0"/>
              <a:t> + token</a:t>
            </a:r>
          </a:p>
          <a:p>
            <a:pPr lvl="0"/>
            <a:endParaRPr lang="fr-FR" sz="1600" dirty="0"/>
          </a:p>
          <a:p>
            <a:r>
              <a:rPr lang="fr-FR" sz="1600" dirty="0"/>
              <a:t>Le kit </a:t>
            </a:r>
            <a:r>
              <a:rPr lang="fr-FR" sz="1600" dirty="0" err="1"/>
              <a:t>Vectury</a:t>
            </a:r>
            <a:r>
              <a:rPr lang="fr-FR" sz="1600" dirty="0"/>
              <a:t> (.zip) </a:t>
            </a:r>
            <a:r>
              <a:rPr lang="fr-FR" sz="1600" dirty="0" err="1" smtClean="0"/>
              <a:t>contine</a:t>
            </a:r>
            <a:r>
              <a:rPr lang="fr-FR" sz="1600" dirty="0"/>
              <a:t> </a:t>
            </a:r>
            <a:r>
              <a:rPr lang="fr-FR" sz="1600" b="0" dirty="0"/>
              <a:t>(master RNFI </a:t>
            </a:r>
            <a:r>
              <a:rPr lang="fr-FR" sz="1600" b="0" dirty="0" err="1"/>
              <a:t>worldwide</a:t>
            </a:r>
            <a:r>
              <a:rPr lang="fr-FR" sz="1600" b="0" dirty="0"/>
              <a:t> </a:t>
            </a:r>
            <a:r>
              <a:rPr lang="fr-FR" sz="1600" b="0" dirty="0" smtClean="0"/>
              <a:t>in </a:t>
            </a:r>
            <a:r>
              <a:rPr lang="fr-FR" sz="1600" b="0" dirty="0" err="1" smtClean="0"/>
              <a:t>curs</a:t>
            </a:r>
            <a:r>
              <a:rPr lang="fr-FR" sz="1600" b="0" dirty="0" smtClean="0"/>
              <a:t> de </a:t>
            </a:r>
            <a:r>
              <a:rPr lang="fr-FR" sz="1600" b="0" dirty="0" err="1" smtClean="0"/>
              <a:t>dezvoltare</a:t>
            </a:r>
            <a:r>
              <a:rPr lang="fr-FR" sz="1600" b="0" dirty="0" smtClean="0"/>
              <a:t>) </a:t>
            </a:r>
            <a:r>
              <a:rPr lang="fr-FR" sz="1600" dirty="0"/>
              <a:t>:</a:t>
            </a:r>
          </a:p>
          <a:p>
            <a:pPr lvl="1"/>
            <a:r>
              <a:rPr lang="fr-FR" sz="1600" dirty="0" smtClean="0"/>
              <a:t>Kit </a:t>
            </a:r>
            <a:r>
              <a:rPr lang="fr-FR" sz="1600" dirty="0" err="1"/>
              <a:t>Vectury</a:t>
            </a:r>
            <a:r>
              <a:rPr lang="fr-FR" sz="1600" dirty="0"/>
              <a:t> </a:t>
            </a:r>
            <a:r>
              <a:rPr lang="fr-FR" sz="1600" dirty="0" err="1"/>
              <a:t>Silent</a:t>
            </a:r>
            <a:r>
              <a:rPr lang="fr-FR" sz="1600" dirty="0"/>
              <a:t> </a:t>
            </a:r>
            <a:r>
              <a:rPr lang="fr-FR" sz="1600" dirty="0" err="1" smtClean="0"/>
              <a:t>versiune</a:t>
            </a:r>
            <a:r>
              <a:rPr lang="fr-FR" sz="1600" dirty="0" smtClean="0"/>
              <a:t> </a:t>
            </a:r>
            <a:r>
              <a:rPr lang="fr-FR" sz="1600" dirty="0"/>
              <a:t>32 </a:t>
            </a:r>
            <a:r>
              <a:rPr lang="fr-FR" sz="1600" dirty="0" smtClean="0"/>
              <a:t>si </a:t>
            </a:r>
            <a:r>
              <a:rPr lang="fr-FR" sz="1600" dirty="0"/>
              <a:t>64 bits (.</a:t>
            </a:r>
            <a:r>
              <a:rPr lang="fr-FR" sz="1600" dirty="0" err="1"/>
              <a:t>exe</a:t>
            </a:r>
            <a:r>
              <a:rPr lang="fr-FR" sz="1600" dirty="0"/>
              <a:t>).</a:t>
            </a:r>
          </a:p>
          <a:p>
            <a:pPr lvl="1"/>
            <a:r>
              <a:rPr lang="fr-FR" sz="1600" dirty="0" err="1" smtClean="0"/>
              <a:t>Autoritate</a:t>
            </a:r>
            <a:r>
              <a:rPr lang="fr-FR" sz="1600" dirty="0" smtClean="0"/>
              <a:t> </a:t>
            </a:r>
            <a:r>
              <a:rPr lang="fr-FR" sz="1600" dirty="0"/>
              <a:t>CA Client (.</a:t>
            </a:r>
            <a:r>
              <a:rPr lang="fr-FR" sz="1600" dirty="0" err="1"/>
              <a:t>exe</a:t>
            </a:r>
            <a:r>
              <a:rPr lang="fr-FR" sz="1600" dirty="0"/>
              <a:t>)</a:t>
            </a:r>
            <a:endParaRPr lang="fr-FR" sz="1600" dirty="0">
              <a:solidFill>
                <a:srgbClr val="FF0000"/>
              </a:solidFill>
            </a:endParaRPr>
          </a:p>
          <a:p>
            <a:pPr lvl="0"/>
            <a:endParaRPr lang="fr-FR" sz="1600" dirty="0"/>
          </a:p>
          <a:p>
            <a:endParaRPr lang="fr-FR" sz="2000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Instalare</a:t>
            </a:r>
            <a:r>
              <a:rPr lang="fr-FR" dirty="0" smtClean="0"/>
              <a:t> </a:t>
            </a:r>
            <a:r>
              <a:rPr lang="fr-FR" dirty="0" err="1" smtClean="0"/>
              <a:t>componentE</a:t>
            </a:r>
            <a:r>
              <a:rPr lang="fr-FR" dirty="0" smtClean="0"/>
              <a:t> si kit </a:t>
            </a:r>
            <a:r>
              <a:rPr lang="fr-FR" dirty="0" err="1"/>
              <a:t>vectury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35642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236484" y="928048"/>
            <a:ext cx="8484430" cy="5268037"/>
          </a:xfrm>
        </p:spPr>
        <p:txBody>
          <a:bodyPr>
            <a:normAutofit fontScale="92500" lnSpcReduction="20000"/>
          </a:bodyPr>
          <a:lstStyle/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r>
              <a:rPr lang="fr-FR" sz="1600" dirty="0">
                <a:solidFill>
                  <a:srgbClr val="000000"/>
                </a:solidFill>
              </a:rPr>
              <a:t>CINE ? </a:t>
            </a:r>
            <a:r>
              <a:rPr lang="fr-FR" sz="1600" b="0" dirty="0" smtClean="0">
                <a:solidFill>
                  <a:srgbClr val="000000"/>
                </a:solidFill>
              </a:rPr>
              <a:t>Editor </a:t>
            </a:r>
            <a:r>
              <a:rPr lang="fr-FR" sz="1600" b="0" dirty="0">
                <a:solidFill>
                  <a:srgbClr val="000000"/>
                </a:solidFill>
              </a:rPr>
              <a:t>DMS</a:t>
            </a:r>
          </a:p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r>
              <a:rPr lang="fr-FR" sz="1600" dirty="0">
                <a:solidFill>
                  <a:srgbClr val="000000"/>
                </a:solidFill>
              </a:rPr>
              <a:t>CAND </a:t>
            </a:r>
            <a:r>
              <a:rPr lang="fr-FR" sz="1600" dirty="0" smtClean="0">
                <a:solidFill>
                  <a:srgbClr val="000000"/>
                </a:solidFill>
              </a:rPr>
              <a:t>?</a:t>
            </a:r>
            <a:r>
              <a:rPr lang="fr-FR" sz="1600" dirty="0" smtClean="0">
                <a:solidFill>
                  <a:srgbClr val="000000"/>
                </a:solidFill>
              </a:rPr>
              <a:t> INAINTE DE INSTALARE!!</a:t>
            </a:r>
            <a:endParaRPr lang="fr-FR" sz="1600" b="0" dirty="0">
              <a:solidFill>
                <a:srgbClr val="000000"/>
              </a:solidFill>
            </a:endParaRPr>
          </a:p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r>
              <a:rPr lang="fr-FR" sz="1600" b="0" dirty="0" err="1" smtClean="0"/>
              <a:t>Deschideti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dosarul</a:t>
            </a:r>
            <a:r>
              <a:rPr lang="fr-FR" sz="1600" b="0" dirty="0" smtClean="0"/>
              <a:t> </a:t>
            </a:r>
            <a:r>
              <a:rPr lang="fr-FR" sz="1600" b="0" dirty="0"/>
              <a:t>Windows\System32\drivers\</a:t>
            </a:r>
            <a:r>
              <a:rPr lang="fr-FR" sz="1600" b="0" dirty="0" err="1"/>
              <a:t>etc</a:t>
            </a:r>
            <a:r>
              <a:rPr lang="fr-FR" sz="1600" b="0" dirty="0"/>
              <a:t>\</a:t>
            </a:r>
          </a:p>
          <a:p>
            <a:pPr marL="457200" indent="-457200">
              <a:buFont typeface="+mj-lt"/>
              <a:buAutoNum type="arabicPeriod"/>
            </a:pPr>
            <a:r>
              <a:rPr lang="fr-FR" sz="1600" b="0" dirty="0"/>
              <a:t>C</a:t>
            </a:r>
            <a:r>
              <a:rPr lang="fr-FR" sz="1600" b="0" dirty="0" smtClean="0"/>
              <a:t>lic </a:t>
            </a:r>
            <a:r>
              <a:rPr lang="fr-FR" sz="1600" b="0" dirty="0" err="1" smtClean="0"/>
              <a:t>dreapta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pe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fisierul</a:t>
            </a:r>
            <a:r>
              <a:rPr lang="fr-FR" sz="1600" b="0" dirty="0" smtClean="0"/>
              <a:t> </a:t>
            </a:r>
            <a:r>
              <a:rPr lang="fr-FR" sz="1600" b="0" dirty="0"/>
              <a:t>Hosts </a:t>
            </a:r>
            <a:r>
              <a:rPr lang="fr-FR" sz="1600" b="0" dirty="0" smtClean="0"/>
              <a:t>si </a:t>
            </a:r>
            <a:r>
              <a:rPr lang="fr-FR" sz="1600" b="0" dirty="0" err="1" smtClean="0"/>
              <a:t>deschideti</a:t>
            </a:r>
            <a:r>
              <a:rPr lang="fr-FR" sz="1600" b="0" dirty="0" smtClean="0"/>
              <a:t> (ca </a:t>
            </a:r>
            <a:r>
              <a:rPr lang="fr-FR" sz="1600" b="0" dirty="0" err="1" smtClean="0"/>
              <a:t>administrator</a:t>
            </a:r>
            <a:r>
              <a:rPr lang="fr-FR" sz="1600" b="0" dirty="0" smtClean="0"/>
              <a:t>) </a:t>
            </a:r>
            <a:r>
              <a:rPr lang="fr-FR" sz="1600" b="0" dirty="0" err="1" smtClean="0"/>
              <a:t>cu</a:t>
            </a:r>
            <a:r>
              <a:rPr lang="fr-FR" sz="1600" b="0" dirty="0" smtClean="0"/>
              <a:t> </a:t>
            </a:r>
            <a:r>
              <a:rPr lang="fr-FR" sz="1600" b="0" dirty="0"/>
              <a:t>Bloc-Notes </a:t>
            </a:r>
            <a:r>
              <a:rPr lang="fr-FR" sz="1600" b="0" dirty="0" err="1" smtClean="0"/>
              <a:t>sau</a:t>
            </a:r>
            <a:r>
              <a:rPr lang="fr-FR" sz="1600" b="0" dirty="0" smtClean="0"/>
              <a:t> </a:t>
            </a:r>
            <a:r>
              <a:rPr lang="fr-FR" sz="1600" b="0" dirty="0" err="1"/>
              <a:t>NotePad</a:t>
            </a:r>
            <a:r>
              <a:rPr lang="fr-FR" sz="1600" b="0" dirty="0"/>
              <a:t>++ </a:t>
            </a:r>
          </a:p>
          <a:p>
            <a:pPr marL="457200" indent="-457200">
              <a:lnSpc>
                <a:spcPct val="120000"/>
              </a:lnSpc>
              <a:buFont typeface="+mj-lt"/>
              <a:buAutoNum type="arabicPeriod"/>
            </a:pPr>
            <a:r>
              <a:rPr lang="fr-FR" sz="1600" b="0" dirty="0" err="1" smtClean="0"/>
              <a:t>Adaugati</a:t>
            </a:r>
            <a:r>
              <a:rPr lang="fr-FR" sz="1600" b="0" dirty="0" smtClean="0"/>
              <a:t> o </a:t>
            </a:r>
            <a:r>
              <a:rPr lang="fr-FR" sz="1600" b="0" dirty="0" err="1" smtClean="0"/>
              <a:t>ultima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linie</a:t>
            </a:r>
            <a:r>
              <a:rPr lang="fr-FR" sz="1600" b="0" dirty="0" smtClean="0"/>
              <a:t> in </a:t>
            </a:r>
            <a:r>
              <a:rPr lang="fr-FR" sz="1600" b="0" dirty="0" err="1" smtClean="0"/>
              <a:t>fisier</a:t>
            </a:r>
            <a:r>
              <a:rPr lang="fr-FR" sz="1600" b="0" dirty="0" smtClean="0"/>
              <a:t>, </a:t>
            </a:r>
            <a:r>
              <a:rPr lang="fr-FR" sz="1600" b="0" dirty="0" err="1" smtClean="0"/>
              <a:t>urmand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formatul</a:t>
            </a:r>
            <a:r>
              <a:rPr lang="fr-FR" sz="1600" b="0" dirty="0"/>
              <a:t> : </a:t>
            </a:r>
            <a:br>
              <a:rPr lang="fr-FR" sz="1600" b="0" dirty="0"/>
            </a:br>
            <a:r>
              <a:rPr lang="fr-FR" sz="1500" dirty="0" err="1" smtClean="0"/>
              <a:t>Adresa</a:t>
            </a:r>
            <a:r>
              <a:rPr lang="fr-FR" sz="1500" dirty="0" smtClean="0"/>
              <a:t> IP-</a:t>
            </a:r>
            <a:r>
              <a:rPr lang="fr-FR" sz="1500" dirty="0" err="1" smtClean="0"/>
              <a:t>spatiu</a:t>
            </a:r>
            <a:r>
              <a:rPr lang="fr-FR" sz="1500" dirty="0" smtClean="0"/>
              <a:t>-URL-</a:t>
            </a:r>
            <a:r>
              <a:rPr lang="fr-FR" sz="1500" dirty="0" err="1" smtClean="0"/>
              <a:t>spatiu</a:t>
            </a:r>
            <a:r>
              <a:rPr lang="fr-FR" sz="1500" dirty="0" smtClean="0"/>
              <a:t>-</a:t>
            </a:r>
            <a:r>
              <a:rPr lang="fr-FR" sz="1500" dirty="0"/>
              <a:t>#</a:t>
            </a:r>
            <a:r>
              <a:rPr lang="fr-FR" sz="1500" dirty="0" err="1" smtClean="0"/>
              <a:t>Comentariu</a:t>
            </a:r>
            <a:endParaRPr lang="fr-FR" sz="150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r>
              <a:rPr lang="fr-FR" sz="1600" b="0" dirty="0" err="1" smtClean="0"/>
              <a:t>Inregistrati</a:t>
            </a:r>
            <a:r>
              <a:rPr lang="fr-FR" sz="1600" b="0" dirty="0" smtClean="0"/>
              <a:t> </a:t>
            </a:r>
            <a:r>
              <a:rPr lang="fr-FR" sz="1600" dirty="0" err="1" smtClean="0"/>
              <a:t>fara</a:t>
            </a:r>
            <a:r>
              <a:rPr lang="fr-FR" sz="1600" dirty="0" smtClean="0"/>
              <a:t> </a:t>
            </a:r>
            <a:r>
              <a:rPr lang="fr-FR" sz="1600" dirty="0" err="1" smtClean="0"/>
              <a:t>extensie</a:t>
            </a:r>
            <a:r>
              <a:rPr lang="fr-FR" sz="1600" dirty="0" smtClean="0"/>
              <a:t> </a:t>
            </a:r>
            <a:endParaRPr lang="fr-FR" sz="160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  <a:p>
            <a:pPr marL="457200" indent="-457200">
              <a:buFont typeface="+mj-lt"/>
              <a:buAutoNum type="arabicPeriod"/>
            </a:pPr>
            <a:endParaRPr lang="fr-FR" sz="1600" b="0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onfiguraRI</a:t>
            </a:r>
            <a:r>
              <a:rPr lang="fr-FR" dirty="0" smtClean="0"/>
              <a:t> </a:t>
            </a:r>
            <a:r>
              <a:rPr lang="fr-FR" dirty="0"/>
              <a:t>local hosts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Image 7" descr="cid:image012.jpg@01D32BBA.16101320"/>
          <p:cNvPicPr/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171" y="2707004"/>
            <a:ext cx="6091055" cy="288383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05402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236484" y="1034086"/>
            <a:ext cx="8484430" cy="5074313"/>
          </a:xfrm>
        </p:spPr>
        <p:txBody>
          <a:bodyPr>
            <a:normAutofit lnSpcReduction="10000"/>
          </a:bodyPr>
          <a:lstStyle/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r>
              <a:rPr lang="fr-FR" sz="1600" dirty="0" smtClean="0">
                <a:solidFill>
                  <a:srgbClr val="000000"/>
                </a:solidFill>
              </a:rPr>
              <a:t>CINE </a:t>
            </a:r>
            <a:r>
              <a:rPr lang="fr-FR" sz="1600" dirty="0">
                <a:solidFill>
                  <a:srgbClr val="000000"/>
                </a:solidFill>
              </a:rPr>
              <a:t>? </a:t>
            </a:r>
            <a:r>
              <a:rPr lang="fr-FR" sz="1600" b="0" dirty="0" smtClean="0">
                <a:solidFill>
                  <a:srgbClr val="000000"/>
                </a:solidFill>
              </a:rPr>
              <a:t>Editor DMS</a:t>
            </a:r>
            <a:endParaRPr lang="fr-FR" sz="1600" b="0" dirty="0">
              <a:solidFill>
                <a:srgbClr val="000000"/>
              </a:solidFill>
            </a:endParaRPr>
          </a:p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r>
              <a:rPr lang="fr-FR" sz="1600" dirty="0" smtClean="0">
                <a:solidFill>
                  <a:srgbClr val="000000"/>
                </a:solidFill>
              </a:rPr>
              <a:t>CAND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>
                <a:solidFill>
                  <a:srgbClr val="000000"/>
                </a:solidFill>
              </a:rPr>
              <a:t>? </a:t>
            </a:r>
            <a:r>
              <a:rPr lang="fr-FR" sz="1600" dirty="0" smtClean="0">
                <a:solidFill>
                  <a:srgbClr val="000000"/>
                </a:solidFill>
              </a:rPr>
              <a:t>Cat mai </a:t>
            </a:r>
            <a:r>
              <a:rPr lang="fr-FR" sz="1600" dirty="0" err="1" smtClean="0">
                <a:solidFill>
                  <a:srgbClr val="000000"/>
                </a:solidFill>
              </a:rPr>
              <a:t>repede</a:t>
            </a:r>
            <a:r>
              <a:rPr lang="fr-FR" sz="1600" dirty="0" smtClean="0">
                <a:solidFill>
                  <a:srgbClr val="000000"/>
                </a:solidFill>
              </a:rPr>
              <a:t>!!</a:t>
            </a:r>
            <a:endParaRPr lang="fr-FR" sz="1600" b="0" dirty="0">
              <a:solidFill>
                <a:srgbClr val="000000"/>
              </a:solidFill>
            </a:endParaRPr>
          </a:p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endParaRPr lang="fr-FR" sz="1600" dirty="0">
              <a:solidFill>
                <a:srgbClr val="000000"/>
              </a:solidFill>
            </a:endParaRPr>
          </a:p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r>
              <a:rPr lang="fr-FR" sz="1600" dirty="0" err="1" smtClean="0">
                <a:solidFill>
                  <a:srgbClr val="000000"/>
                </a:solidFill>
              </a:rPr>
              <a:t>Parametraje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>
                <a:solidFill>
                  <a:srgbClr val="000000"/>
                </a:solidFill>
              </a:rPr>
              <a:t>DMS :</a:t>
            </a:r>
          </a:p>
          <a:p>
            <a:pPr lvl="0">
              <a:spcBef>
                <a:spcPts val="600"/>
              </a:spcBef>
              <a:buClr>
                <a:srgbClr val="FFCC33"/>
              </a:buClr>
            </a:pPr>
            <a:r>
              <a:rPr lang="fr-FR" sz="1600" dirty="0" err="1" smtClean="0">
                <a:solidFill>
                  <a:srgbClr val="000000"/>
                </a:solidFill>
              </a:rPr>
              <a:t>Configurare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>
                <a:solidFill>
                  <a:srgbClr val="000000"/>
                </a:solidFill>
              </a:rPr>
              <a:t>DMS </a:t>
            </a:r>
            <a:r>
              <a:rPr lang="fr-FR" sz="1600" dirty="0" err="1" smtClean="0">
                <a:solidFill>
                  <a:srgbClr val="000000"/>
                </a:solidFill>
              </a:rPr>
              <a:t>pe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 err="1" smtClean="0">
                <a:solidFill>
                  <a:srgbClr val="000000"/>
                </a:solidFill>
              </a:rPr>
              <a:t>serverul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>
                <a:solidFill>
                  <a:srgbClr val="000000"/>
                </a:solidFill>
              </a:rPr>
              <a:t>TSE: </a:t>
            </a:r>
            <a:r>
              <a:rPr lang="fr-FR" sz="1600" b="0" dirty="0" err="1">
                <a:solidFill>
                  <a:srgbClr val="000000"/>
                </a:solidFill>
              </a:rPr>
              <a:t>datacardms.exe.config</a:t>
            </a:r>
            <a:r>
              <a:rPr lang="fr-FR" sz="1600" b="0" dirty="0">
                <a:solidFill>
                  <a:srgbClr val="000000"/>
                </a:solidFill>
              </a:rPr>
              <a:t> </a:t>
            </a:r>
            <a:r>
              <a:rPr lang="fr-FR" sz="1600" b="0" dirty="0" err="1" smtClean="0">
                <a:solidFill>
                  <a:srgbClr val="000000"/>
                </a:solidFill>
              </a:rPr>
              <a:t>pentru</a:t>
            </a:r>
            <a:r>
              <a:rPr lang="fr-FR" sz="1600" b="0" dirty="0" smtClean="0">
                <a:solidFill>
                  <a:srgbClr val="000000"/>
                </a:solidFill>
              </a:rPr>
              <a:t> a documenta </a:t>
            </a:r>
            <a:r>
              <a:rPr lang="fr-FR" sz="1600" b="0" dirty="0" err="1" smtClean="0">
                <a:solidFill>
                  <a:srgbClr val="000000"/>
                </a:solidFill>
              </a:rPr>
              <a:t>cheia</a:t>
            </a:r>
            <a:r>
              <a:rPr lang="fr-FR" sz="1600" b="0" dirty="0" smtClean="0">
                <a:solidFill>
                  <a:srgbClr val="000000"/>
                </a:solidFill>
              </a:rPr>
              <a:t> </a:t>
            </a:r>
            <a:r>
              <a:rPr lang="fr-FR" sz="1600" b="0" dirty="0">
                <a:solidFill>
                  <a:srgbClr val="000000"/>
                </a:solidFill>
              </a:rPr>
              <a:t>&lt;</a:t>
            </a:r>
            <a:r>
              <a:rPr lang="fr-FR" sz="1600" b="0" dirty="0" err="1">
                <a:solidFill>
                  <a:srgbClr val="000000"/>
                </a:solidFill>
              </a:rPr>
              <a:t>add</a:t>
            </a:r>
            <a:r>
              <a:rPr lang="fr-FR" sz="1600" b="0" dirty="0">
                <a:solidFill>
                  <a:srgbClr val="000000"/>
                </a:solidFill>
              </a:rPr>
              <a:t> key="</a:t>
            </a:r>
            <a:r>
              <a:rPr lang="fr-FR" sz="1600" b="0" dirty="0" err="1">
                <a:solidFill>
                  <a:srgbClr val="000000"/>
                </a:solidFill>
              </a:rPr>
              <a:t>InternetBrowserPath</a:t>
            </a:r>
            <a:r>
              <a:rPr lang="fr-FR" sz="1600" b="0" dirty="0">
                <a:solidFill>
                  <a:srgbClr val="000000"/>
                </a:solidFill>
              </a:rPr>
              <a:t>" </a:t>
            </a:r>
            <a:r>
              <a:rPr lang="fr-FR" sz="1600" b="0" dirty="0" err="1" smtClean="0">
                <a:solidFill>
                  <a:srgbClr val="000000"/>
                </a:solidFill>
              </a:rPr>
              <a:t>valare</a:t>
            </a:r>
            <a:r>
              <a:rPr lang="fr-FR" sz="1600" b="0" dirty="0" smtClean="0">
                <a:solidFill>
                  <a:srgbClr val="000000"/>
                </a:solidFill>
              </a:rPr>
              <a:t>="</a:t>
            </a:r>
            <a:r>
              <a:rPr lang="fr-FR" sz="1600" b="0" dirty="0">
                <a:solidFill>
                  <a:srgbClr val="000000"/>
                </a:solidFill>
              </a:rPr>
              <a:t>C:\ProgramFiles\InternetExplorer\iexplore.exe" /&gt;</a:t>
            </a:r>
          </a:p>
          <a:p>
            <a:pPr lvl="0">
              <a:spcBef>
                <a:spcPts val="600"/>
              </a:spcBef>
              <a:buClr>
                <a:srgbClr val="FFCC33"/>
              </a:buClr>
            </a:pPr>
            <a:r>
              <a:rPr lang="fr-FR" sz="1600" dirty="0" smtClean="0">
                <a:solidFill>
                  <a:srgbClr val="000000"/>
                </a:solidFill>
              </a:rPr>
              <a:t>De ce ? </a:t>
            </a:r>
            <a:r>
              <a:rPr lang="fr-FR" sz="1600" dirty="0" err="1" smtClean="0">
                <a:solidFill>
                  <a:srgbClr val="000000"/>
                </a:solidFill>
              </a:rPr>
              <a:t>Pentru</a:t>
            </a:r>
            <a:r>
              <a:rPr lang="fr-FR" sz="1600" dirty="0" smtClean="0">
                <a:solidFill>
                  <a:srgbClr val="000000"/>
                </a:solidFill>
              </a:rPr>
              <a:t> ca ii </a:t>
            </a:r>
            <a:r>
              <a:rPr lang="fr-FR" sz="1600" dirty="0" err="1" smtClean="0">
                <a:solidFill>
                  <a:srgbClr val="000000"/>
                </a:solidFill>
              </a:rPr>
              <a:t>indica</a:t>
            </a:r>
            <a:r>
              <a:rPr lang="fr-FR" sz="1600" dirty="0" smtClean="0">
                <a:solidFill>
                  <a:srgbClr val="000000"/>
                </a:solidFill>
              </a:rPr>
              <a:t> DMS-</a:t>
            </a:r>
            <a:r>
              <a:rPr lang="fr-FR" sz="1600" dirty="0" err="1" smtClean="0">
                <a:solidFill>
                  <a:srgbClr val="000000"/>
                </a:solidFill>
              </a:rPr>
              <a:t>ului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 err="1" smtClean="0">
                <a:solidFill>
                  <a:srgbClr val="000000"/>
                </a:solidFill>
              </a:rPr>
              <a:t>cu</a:t>
            </a:r>
            <a:r>
              <a:rPr lang="fr-FR" sz="1600" dirty="0" smtClean="0">
                <a:solidFill>
                  <a:srgbClr val="000000"/>
                </a:solidFill>
              </a:rPr>
              <a:t> ce </a:t>
            </a:r>
            <a:r>
              <a:rPr lang="fr-FR" sz="1600" dirty="0" err="1" smtClean="0">
                <a:solidFill>
                  <a:srgbClr val="000000"/>
                </a:solidFill>
              </a:rPr>
              <a:t>navigator</a:t>
            </a:r>
            <a:r>
              <a:rPr lang="fr-FR" sz="1600" dirty="0" smtClean="0">
                <a:solidFill>
                  <a:srgbClr val="000000"/>
                </a:solidFill>
              </a:rPr>
              <a:t> sa </a:t>
            </a:r>
            <a:r>
              <a:rPr lang="fr-FR" sz="1600" dirty="0" err="1" smtClean="0">
                <a:solidFill>
                  <a:srgbClr val="000000"/>
                </a:solidFill>
              </a:rPr>
              <a:t>deschida</a:t>
            </a:r>
            <a:r>
              <a:rPr lang="fr-FR" sz="1600" dirty="0" smtClean="0">
                <a:solidFill>
                  <a:srgbClr val="000000"/>
                </a:solidFill>
              </a:rPr>
              <a:t> DFM!!</a:t>
            </a:r>
            <a:endParaRPr lang="fr-FR" sz="1600" b="0" dirty="0">
              <a:solidFill>
                <a:srgbClr val="000000"/>
              </a:solidFill>
            </a:endParaRPr>
          </a:p>
          <a:p>
            <a:pPr lvl="0">
              <a:spcBef>
                <a:spcPts val="600"/>
              </a:spcBef>
              <a:buClr>
                <a:srgbClr val="FFCC33"/>
              </a:buClr>
            </a:pPr>
            <a:endParaRPr lang="fr-FR" sz="1600" b="0" dirty="0">
              <a:solidFill>
                <a:srgbClr val="000000"/>
              </a:solidFill>
            </a:endParaRPr>
          </a:p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r>
              <a:rPr lang="fr-FR" sz="1600" dirty="0" err="1" smtClean="0">
                <a:solidFill>
                  <a:srgbClr val="000000"/>
                </a:solidFill>
              </a:rPr>
              <a:t>Parametraje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>
                <a:solidFill>
                  <a:srgbClr val="000000"/>
                </a:solidFill>
              </a:rPr>
              <a:t>IE </a:t>
            </a:r>
            <a:r>
              <a:rPr lang="fr-FR" sz="1600" dirty="0" err="1" smtClean="0">
                <a:solidFill>
                  <a:srgbClr val="000000"/>
                </a:solidFill>
              </a:rPr>
              <a:t>pe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 err="1" smtClean="0">
                <a:solidFill>
                  <a:srgbClr val="000000"/>
                </a:solidFill>
              </a:rPr>
              <a:t>serverul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>
                <a:solidFill>
                  <a:srgbClr val="000000"/>
                </a:solidFill>
              </a:rPr>
              <a:t>TSE :</a:t>
            </a:r>
          </a:p>
          <a:p>
            <a:pPr lvl="0">
              <a:spcBef>
                <a:spcPts val="600"/>
              </a:spcBef>
              <a:buClr>
                <a:srgbClr val="FFCC33"/>
              </a:buClr>
            </a:pPr>
            <a:r>
              <a:rPr lang="fr-FR" sz="1600" dirty="0" err="1" smtClean="0">
                <a:solidFill>
                  <a:srgbClr val="000000"/>
                </a:solidFill>
              </a:rPr>
              <a:t>Configurare</a:t>
            </a:r>
            <a:r>
              <a:rPr lang="fr-FR" sz="1600" dirty="0" smtClean="0">
                <a:solidFill>
                  <a:srgbClr val="000000"/>
                </a:solidFill>
              </a:rPr>
              <a:t> Internet </a:t>
            </a:r>
            <a:r>
              <a:rPr lang="fr-FR" sz="1600" dirty="0">
                <a:solidFill>
                  <a:srgbClr val="000000"/>
                </a:solidFill>
              </a:rPr>
              <a:t>Explorer 11 : </a:t>
            </a:r>
          </a:p>
          <a:p>
            <a:pPr marL="577253" lvl="1" indent="-342900">
              <a:spcBef>
                <a:spcPts val="600"/>
              </a:spcBef>
              <a:buClr>
                <a:srgbClr val="FFCC33"/>
              </a:buClr>
              <a:buFont typeface="+mj-lt"/>
              <a:buAutoNum type="arabicPeriod"/>
            </a:pPr>
            <a:r>
              <a:rPr lang="fr-FR" sz="1400" b="0" dirty="0" err="1" smtClean="0">
                <a:solidFill>
                  <a:srgbClr val="000000"/>
                </a:solidFill>
              </a:rPr>
              <a:t>Adaugare</a:t>
            </a:r>
            <a:r>
              <a:rPr lang="fr-FR" sz="1400" b="0" dirty="0" smtClean="0">
                <a:solidFill>
                  <a:srgbClr val="000000"/>
                </a:solidFill>
              </a:rPr>
              <a:t> </a:t>
            </a:r>
            <a:r>
              <a:rPr lang="fr-FR" sz="1400" b="0" dirty="0">
                <a:solidFill>
                  <a:srgbClr val="000000"/>
                </a:solidFill>
              </a:rPr>
              <a:t>URL *.renault.com </a:t>
            </a:r>
            <a:r>
              <a:rPr lang="fr-FR" sz="1400" b="0" dirty="0" smtClean="0">
                <a:solidFill>
                  <a:srgbClr val="000000"/>
                </a:solidFill>
              </a:rPr>
              <a:t>ca site de </a:t>
            </a:r>
            <a:r>
              <a:rPr lang="fr-FR" sz="1400" b="0" dirty="0" err="1" smtClean="0">
                <a:solidFill>
                  <a:srgbClr val="000000"/>
                </a:solidFill>
              </a:rPr>
              <a:t>incredere</a:t>
            </a:r>
            <a:r>
              <a:rPr lang="fr-FR" sz="1400" b="0" dirty="0" smtClean="0">
                <a:solidFill>
                  <a:srgbClr val="000000"/>
                </a:solidFill>
              </a:rPr>
              <a:t> </a:t>
            </a:r>
            <a:endParaRPr lang="fr-FR" sz="1400" b="0" dirty="0">
              <a:solidFill>
                <a:srgbClr val="000000"/>
              </a:solidFill>
            </a:endParaRPr>
          </a:p>
          <a:p>
            <a:pPr marL="577253" lvl="1" indent="-342900">
              <a:spcBef>
                <a:spcPts val="600"/>
              </a:spcBef>
              <a:buClr>
                <a:srgbClr val="FFCC33"/>
              </a:buClr>
              <a:buFont typeface="+mj-lt"/>
              <a:buAutoNum type="arabicPeriod"/>
            </a:pPr>
            <a:r>
              <a:rPr lang="fr-FR" sz="1400" dirty="0" err="1" smtClean="0">
                <a:solidFill>
                  <a:srgbClr val="000000"/>
                </a:solidFill>
              </a:rPr>
              <a:t>Setare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nivel</a:t>
            </a:r>
            <a:r>
              <a:rPr lang="fr-FR" sz="1400" dirty="0" smtClean="0">
                <a:solidFill>
                  <a:srgbClr val="000000"/>
                </a:solidFill>
              </a:rPr>
              <a:t> de </a:t>
            </a:r>
            <a:r>
              <a:rPr lang="fr-FR" sz="1400" dirty="0" err="1" smtClean="0">
                <a:solidFill>
                  <a:srgbClr val="000000"/>
                </a:solidFill>
              </a:rPr>
              <a:t>securitate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pe</a:t>
            </a:r>
            <a:r>
              <a:rPr lang="fr-FR" sz="1400" dirty="0" smtClean="0">
                <a:solidFill>
                  <a:srgbClr val="000000"/>
                </a:solidFill>
              </a:rPr>
              <a:t> </a:t>
            </a:r>
            <a:r>
              <a:rPr lang="fr-FR" sz="1400" dirty="0" err="1" smtClean="0">
                <a:solidFill>
                  <a:srgbClr val="000000"/>
                </a:solidFill>
              </a:rPr>
              <a:t>mediu</a:t>
            </a:r>
            <a:r>
              <a:rPr lang="fr-FR" sz="1400" dirty="0" smtClean="0">
                <a:solidFill>
                  <a:srgbClr val="000000"/>
                </a:solidFill>
              </a:rPr>
              <a:t>/</a:t>
            </a:r>
            <a:r>
              <a:rPr lang="fr-FR" sz="1400" dirty="0" err="1" smtClean="0">
                <a:solidFill>
                  <a:srgbClr val="000000"/>
                </a:solidFill>
              </a:rPr>
              <a:t>jos</a:t>
            </a:r>
            <a:endParaRPr lang="fr-FR" sz="1400" b="0" dirty="0">
              <a:solidFill>
                <a:srgbClr val="000000"/>
              </a:solidFill>
            </a:endParaRPr>
          </a:p>
          <a:p>
            <a:pPr lvl="0">
              <a:spcBef>
                <a:spcPts val="600"/>
              </a:spcBef>
              <a:buClr>
                <a:srgbClr val="FFCC33"/>
              </a:buClr>
            </a:pPr>
            <a:r>
              <a:rPr lang="fr-FR" sz="1600" dirty="0" smtClean="0">
                <a:solidFill>
                  <a:srgbClr val="000000"/>
                </a:solidFill>
              </a:rPr>
              <a:t>De ce ? Ii </a:t>
            </a:r>
            <a:r>
              <a:rPr lang="fr-FR" sz="1600" dirty="0" err="1" smtClean="0">
                <a:solidFill>
                  <a:srgbClr val="000000"/>
                </a:solidFill>
              </a:rPr>
              <a:t>indici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 err="1" smtClean="0">
                <a:solidFill>
                  <a:srgbClr val="000000"/>
                </a:solidFill>
              </a:rPr>
              <a:t>navigatorului</a:t>
            </a:r>
            <a:r>
              <a:rPr lang="fr-FR" sz="1600" dirty="0" smtClean="0">
                <a:solidFill>
                  <a:srgbClr val="000000"/>
                </a:solidFill>
              </a:rPr>
              <a:t> ca DFM e un site de </a:t>
            </a:r>
            <a:r>
              <a:rPr lang="fr-FR" sz="1600" dirty="0" err="1" smtClean="0">
                <a:solidFill>
                  <a:srgbClr val="000000"/>
                </a:solidFill>
              </a:rPr>
              <a:t>incredere</a:t>
            </a:r>
            <a:r>
              <a:rPr lang="fr-FR" sz="1600" dirty="0" smtClean="0">
                <a:solidFill>
                  <a:srgbClr val="000000"/>
                </a:solidFill>
              </a:rPr>
              <a:t>!!</a:t>
            </a:r>
            <a:endParaRPr lang="fr-FR" sz="1600" dirty="0">
              <a:solidFill>
                <a:srgbClr val="000000"/>
              </a:solidFill>
            </a:endParaRPr>
          </a:p>
          <a:p>
            <a:endParaRPr lang="fr-FR" sz="1600" dirty="0"/>
          </a:p>
          <a:p>
            <a:pPr marL="0" lvl="0" indent="0">
              <a:spcBef>
                <a:spcPts val="600"/>
              </a:spcBef>
              <a:buClr>
                <a:srgbClr val="FFCC33"/>
              </a:buClr>
              <a:buNone/>
            </a:pPr>
            <a:r>
              <a:rPr lang="fr-FR" sz="1600" dirty="0" err="1" smtClean="0">
                <a:solidFill>
                  <a:srgbClr val="000000"/>
                </a:solidFill>
              </a:rPr>
              <a:t>Facturi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>
                <a:solidFill>
                  <a:srgbClr val="000000"/>
                </a:solidFill>
              </a:rPr>
              <a:t>(</a:t>
            </a:r>
            <a:r>
              <a:rPr lang="fr-FR" sz="1600" dirty="0" smtClean="0">
                <a:solidFill>
                  <a:srgbClr val="000000"/>
                </a:solidFill>
              </a:rPr>
              <a:t>pt </a:t>
            </a:r>
            <a:r>
              <a:rPr lang="fr-FR" sz="1600" dirty="0" err="1" smtClean="0">
                <a:solidFill>
                  <a:srgbClr val="000000"/>
                </a:solidFill>
              </a:rPr>
              <a:t>fiecare</a:t>
            </a:r>
            <a:r>
              <a:rPr lang="fr-FR" sz="1600" dirty="0" smtClean="0">
                <a:solidFill>
                  <a:srgbClr val="000000"/>
                </a:solidFill>
              </a:rPr>
              <a:t> dealer) </a:t>
            </a:r>
            <a:r>
              <a:rPr lang="fr-FR" sz="1600" dirty="0">
                <a:solidFill>
                  <a:srgbClr val="000000"/>
                </a:solidFill>
              </a:rPr>
              <a:t>: </a:t>
            </a:r>
          </a:p>
          <a:p>
            <a:pPr>
              <a:spcBef>
                <a:spcPts val="600"/>
              </a:spcBef>
              <a:buClr>
                <a:srgbClr val="FFCC33"/>
              </a:buClr>
            </a:pPr>
            <a:r>
              <a:rPr lang="fr-FR" sz="1600" dirty="0" err="1" smtClean="0">
                <a:solidFill>
                  <a:srgbClr val="000000"/>
                </a:solidFill>
              </a:rPr>
              <a:t>Verificati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 err="1" smtClean="0">
                <a:solidFill>
                  <a:srgbClr val="000000"/>
                </a:solidFill>
              </a:rPr>
              <a:t>afisajul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 err="1" smtClean="0">
                <a:solidFill>
                  <a:srgbClr val="000000"/>
                </a:solidFill>
              </a:rPr>
              <a:t>facturilor</a:t>
            </a:r>
            <a:r>
              <a:rPr lang="fr-FR" sz="1600" dirty="0" smtClean="0">
                <a:solidFill>
                  <a:srgbClr val="000000"/>
                </a:solidFill>
              </a:rPr>
              <a:t> pt </a:t>
            </a:r>
            <a:r>
              <a:rPr lang="fr-FR" sz="1600" dirty="0" err="1" smtClean="0">
                <a:solidFill>
                  <a:srgbClr val="000000"/>
                </a:solidFill>
              </a:rPr>
              <a:t>pachetele</a:t>
            </a:r>
            <a:r>
              <a:rPr lang="fr-FR" sz="1600" dirty="0" smtClean="0">
                <a:solidFill>
                  <a:srgbClr val="000000"/>
                </a:solidFill>
              </a:rPr>
              <a:t> promo (fixe)</a:t>
            </a:r>
            <a:endParaRPr lang="fr-FR" sz="1600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  <a:buClr>
                <a:srgbClr val="FFCC33"/>
              </a:buClr>
            </a:pPr>
            <a:r>
              <a:rPr lang="fr-FR" sz="1600" dirty="0">
                <a:solidFill>
                  <a:srgbClr val="000000"/>
                </a:solidFill>
              </a:rPr>
              <a:t>De </a:t>
            </a:r>
            <a:r>
              <a:rPr lang="fr-FR" sz="1600" dirty="0" smtClean="0">
                <a:solidFill>
                  <a:srgbClr val="000000"/>
                </a:solidFill>
              </a:rPr>
              <a:t> ce? </a:t>
            </a:r>
            <a:r>
              <a:rPr lang="fr-FR" sz="1600" dirty="0" err="1" smtClean="0">
                <a:solidFill>
                  <a:srgbClr val="000000"/>
                </a:solidFill>
              </a:rPr>
              <a:t>Pentru</a:t>
            </a:r>
            <a:r>
              <a:rPr lang="fr-FR" sz="1600" dirty="0" smtClean="0">
                <a:solidFill>
                  <a:srgbClr val="000000"/>
                </a:solidFill>
              </a:rPr>
              <a:t>  a va </a:t>
            </a:r>
            <a:r>
              <a:rPr lang="fr-FR" sz="1600" dirty="0" err="1" smtClean="0">
                <a:solidFill>
                  <a:srgbClr val="000000"/>
                </a:solidFill>
              </a:rPr>
              <a:t>asigura</a:t>
            </a:r>
            <a:r>
              <a:rPr lang="fr-FR" sz="1600" dirty="0" smtClean="0">
                <a:solidFill>
                  <a:srgbClr val="000000"/>
                </a:solidFill>
              </a:rPr>
              <a:t> ca </a:t>
            </a:r>
            <a:r>
              <a:rPr lang="fr-FR" sz="1600" dirty="0" err="1" smtClean="0">
                <a:solidFill>
                  <a:srgbClr val="000000"/>
                </a:solidFill>
              </a:rPr>
              <a:t>pretul</a:t>
            </a:r>
            <a:r>
              <a:rPr lang="fr-FR" sz="1600" dirty="0" smtClean="0">
                <a:solidFill>
                  <a:srgbClr val="000000"/>
                </a:solidFill>
              </a:rPr>
              <a:t> este </a:t>
            </a:r>
            <a:r>
              <a:rPr lang="fr-FR" sz="1600" dirty="0" err="1" smtClean="0">
                <a:solidFill>
                  <a:srgbClr val="000000"/>
                </a:solidFill>
              </a:rPr>
              <a:t>afisat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 err="1" smtClean="0">
                <a:solidFill>
                  <a:srgbClr val="000000"/>
                </a:solidFill>
              </a:rPr>
              <a:t>pe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 err="1" smtClean="0">
                <a:solidFill>
                  <a:srgbClr val="000000"/>
                </a:solidFill>
              </a:rPr>
              <a:t>pachet</a:t>
            </a:r>
            <a:r>
              <a:rPr lang="fr-FR" sz="1600" dirty="0" smtClean="0">
                <a:solidFill>
                  <a:srgbClr val="000000"/>
                </a:solidFill>
              </a:rPr>
              <a:t> si nu </a:t>
            </a:r>
            <a:r>
              <a:rPr lang="fr-FR" sz="1600" dirty="0" err="1" smtClean="0">
                <a:solidFill>
                  <a:srgbClr val="000000"/>
                </a:solidFill>
              </a:rPr>
              <a:t>pentru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 err="1" smtClean="0">
                <a:solidFill>
                  <a:srgbClr val="000000"/>
                </a:solidFill>
              </a:rPr>
              <a:t>fiecare</a:t>
            </a:r>
            <a:r>
              <a:rPr lang="fr-FR" sz="1600" dirty="0" smtClean="0">
                <a:solidFill>
                  <a:srgbClr val="000000"/>
                </a:solidFill>
              </a:rPr>
              <a:t> </a:t>
            </a:r>
            <a:r>
              <a:rPr lang="fr-FR" sz="1600" dirty="0" err="1" smtClean="0">
                <a:solidFill>
                  <a:srgbClr val="000000"/>
                </a:solidFill>
              </a:rPr>
              <a:t>piesa</a:t>
            </a:r>
            <a:r>
              <a:rPr lang="fr-FR" sz="1600" dirty="0" smtClean="0">
                <a:solidFill>
                  <a:srgbClr val="000000"/>
                </a:solidFill>
              </a:rPr>
              <a:t> in parte!</a:t>
            </a:r>
            <a:endParaRPr lang="fr-FR" sz="1600" b="0" dirty="0">
              <a:solidFill>
                <a:srgbClr val="000000"/>
              </a:solidFill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Parametraje</a:t>
            </a:r>
            <a:r>
              <a:rPr lang="fr-FR" dirty="0" smtClean="0"/>
              <a:t> </a:t>
            </a:r>
            <a:r>
              <a:rPr lang="fr-FR" dirty="0"/>
              <a:t>DMS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36779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Bef>
                <a:spcPts val="600"/>
              </a:spcBef>
              <a:buClr>
                <a:srgbClr val="FFCC33"/>
              </a:buClr>
            </a:pPr>
            <a:r>
              <a:rPr lang="en-US" sz="1600" dirty="0">
                <a:solidFill>
                  <a:srgbClr val="000000"/>
                </a:solidFill>
              </a:rPr>
              <a:t>In DFM Admin </a:t>
            </a:r>
            <a:r>
              <a:rPr lang="en-US" sz="1600" dirty="0">
                <a:solidFill>
                  <a:srgbClr val="000000"/>
                </a:solidFill>
              </a:rPr>
              <a:t>de </a:t>
            </a:r>
            <a:r>
              <a:rPr lang="en-US" sz="1600" dirty="0" err="1">
                <a:solidFill>
                  <a:srgbClr val="000000"/>
                </a:solidFill>
              </a:rPr>
              <a:t>completat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urmatoarele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campuri</a:t>
            </a:r>
            <a:r>
              <a:rPr lang="en-US" sz="1600" dirty="0">
                <a:solidFill>
                  <a:srgbClr val="000000"/>
                </a:solidFill>
              </a:rPr>
              <a:t> in </a:t>
            </a:r>
            <a:r>
              <a:rPr lang="en-US" sz="1600" dirty="0" err="1" smtClean="0">
                <a:solidFill>
                  <a:srgbClr val="000000"/>
                </a:solidFill>
              </a:rPr>
              <a:t>partea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de DMS:</a:t>
            </a:r>
          </a:p>
          <a:p>
            <a:pPr lvl="1">
              <a:spcBef>
                <a:spcPts val="600"/>
              </a:spcBef>
              <a:buClr>
                <a:srgbClr val="FFCC33"/>
              </a:buClr>
            </a:pPr>
            <a:r>
              <a:rPr lang="en-US" sz="1300" dirty="0">
                <a:solidFill>
                  <a:srgbClr val="000000"/>
                </a:solidFill>
              </a:rPr>
              <a:t> DMS; </a:t>
            </a:r>
          </a:p>
          <a:p>
            <a:pPr lvl="1">
              <a:spcBef>
                <a:spcPts val="600"/>
              </a:spcBef>
              <a:buClr>
                <a:srgbClr val="FFCC33"/>
              </a:buClr>
            </a:pPr>
            <a:r>
              <a:rPr lang="en-US" sz="1300" dirty="0" err="1">
                <a:solidFill>
                  <a:srgbClr val="000000"/>
                </a:solidFill>
              </a:rPr>
              <a:t>Bifare</a:t>
            </a:r>
            <a:r>
              <a:rPr lang="en-US" sz="1300" dirty="0">
                <a:solidFill>
                  <a:srgbClr val="000000"/>
                </a:solidFill>
              </a:rPr>
              <a:t> </a:t>
            </a:r>
            <a:r>
              <a:rPr lang="en-US" sz="1300" dirty="0" err="1">
                <a:solidFill>
                  <a:srgbClr val="000000"/>
                </a:solidFill>
              </a:rPr>
              <a:t>activare</a:t>
            </a:r>
            <a:r>
              <a:rPr lang="en-US" sz="1300" dirty="0">
                <a:solidFill>
                  <a:srgbClr val="000000"/>
                </a:solidFill>
              </a:rPr>
              <a:t> API DMS Web;</a:t>
            </a:r>
          </a:p>
          <a:p>
            <a:pPr lvl="1">
              <a:spcBef>
                <a:spcPts val="600"/>
              </a:spcBef>
              <a:buClr>
                <a:srgbClr val="FFCC33"/>
              </a:buClr>
            </a:pPr>
            <a:r>
              <a:rPr lang="en-US" sz="1300" dirty="0" err="1">
                <a:solidFill>
                  <a:srgbClr val="000000"/>
                </a:solidFill>
              </a:rPr>
              <a:t>Introducere</a:t>
            </a:r>
            <a:r>
              <a:rPr lang="en-US" sz="1300" dirty="0">
                <a:solidFill>
                  <a:srgbClr val="000000"/>
                </a:solidFill>
              </a:rPr>
              <a:t> </a:t>
            </a:r>
            <a:r>
              <a:rPr lang="en-US" sz="1300" dirty="0" err="1">
                <a:solidFill>
                  <a:srgbClr val="000000"/>
                </a:solidFill>
              </a:rPr>
              <a:t>Url</a:t>
            </a:r>
            <a:r>
              <a:rPr lang="en-US" sz="1300" dirty="0">
                <a:solidFill>
                  <a:srgbClr val="000000"/>
                </a:solidFill>
              </a:rPr>
              <a:t> </a:t>
            </a:r>
            <a:r>
              <a:rPr lang="en-US" sz="1300" dirty="0" err="1">
                <a:solidFill>
                  <a:srgbClr val="000000"/>
                </a:solidFill>
              </a:rPr>
              <a:t>Url</a:t>
            </a:r>
            <a:r>
              <a:rPr lang="en-US" sz="1300" dirty="0">
                <a:solidFill>
                  <a:srgbClr val="000000"/>
                </a:solidFill>
              </a:rPr>
              <a:t>;</a:t>
            </a:r>
          </a:p>
          <a:p>
            <a:pPr lvl="1">
              <a:spcBef>
                <a:spcPts val="600"/>
              </a:spcBef>
              <a:buClr>
                <a:srgbClr val="FFCC33"/>
              </a:buClr>
            </a:pPr>
            <a:r>
              <a:rPr lang="en-US" sz="1300" dirty="0" err="1">
                <a:solidFill>
                  <a:srgbClr val="000000"/>
                </a:solidFill>
              </a:rPr>
              <a:t>Bifare</a:t>
            </a:r>
            <a:r>
              <a:rPr lang="en-US" sz="1300" dirty="0">
                <a:solidFill>
                  <a:srgbClr val="000000"/>
                </a:solidFill>
              </a:rPr>
              <a:t> </a:t>
            </a:r>
            <a:r>
              <a:rPr lang="en-US" sz="1300" dirty="0" err="1">
                <a:solidFill>
                  <a:srgbClr val="000000"/>
                </a:solidFill>
              </a:rPr>
              <a:t>caseta</a:t>
            </a:r>
            <a:r>
              <a:rPr lang="en-US" sz="1300" dirty="0">
                <a:solidFill>
                  <a:srgbClr val="000000"/>
                </a:solidFill>
              </a:rPr>
              <a:t> </a:t>
            </a:r>
            <a:r>
              <a:rPr lang="en-US" sz="1300" dirty="0" err="1">
                <a:solidFill>
                  <a:srgbClr val="000000"/>
                </a:solidFill>
              </a:rPr>
              <a:t>Interfatare</a:t>
            </a:r>
            <a:r>
              <a:rPr lang="en-US" sz="1300" dirty="0">
                <a:solidFill>
                  <a:srgbClr val="000000"/>
                </a:solidFill>
              </a:rPr>
              <a:t> </a:t>
            </a:r>
            <a:r>
              <a:rPr lang="en-US" sz="1300" dirty="0">
                <a:solidFill>
                  <a:srgbClr val="000000"/>
                </a:solidFill>
              </a:rPr>
              <a:t>DMS</a:t>
            </a:r>
          </a:p>
          <a:p>
            <a:pPr marL="234353" lvl="1" indent="0">
              <a:buNone/>
            </a:pPr>
            <a:endParaRPr lang="en-US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onfigurari</a:t>
            </a:r>
            <a:r>
              <a:rPr lang="fr-FR" dirty="0" smtClean="0"/>
              <a:t> « DMS » </a:t>
            </a:r>
            <a:r>
              <a:rPr lang="fr-FR" dirty="0"/>
              <a:t>in DFM ADMIN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0890" y="2262153"/>
            <a:ext cx="8335617" cy="283159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391" y="3928597"/>
            <a:ext cx="8524116" cy="2558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845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236484" y="1029006"/>
            <a:ext cx="8484430" cy="5074313"/>
          </a:xfrm>
        </p:spPr>
        <p:txBody>
          <a:bodyPr>
            <a:normAutofit/>
          </a:bodyPr>
          <a:lstStyle/>
          <a:p>
            <a:r>
              <a:rPr lang="en-US" sz="1600" dirty="0"/>
              <a:t>In DFM </a:t>
            </a:r>
            <a:r>
              <a:rPr lang="en-US" sz="1600" dirty="0" smtClean="0"/>
              <a:t>Admin, de </a:t>
            </a:r>
            <a:r>
              <a:rPr lang="en-US" sz="1600" dirty="0" err="1" smtClean="0"/>
              <a:t>parametrat</a:t>
            </a:r>
            <a:r>
              <a:rPr lang="en-US" sz="1600" dirty="0" smtClean="0"/>
              <a:t> </a:t>
            </a:r>
            <a:r>
              <a:rPr lang="en-US" sz="1600" dirty="0" err="1" smtClean="0"/>
              <a:t>tariful</a:t>
            </a:r>
            <a:r>
              <a:rPr lang="en-US" sz="1600" dirty="0" smtClean="0"/>
              <a:t> de </a:t>
            </a:r>
            <a:r>
              <a:rPr lang="en-US" sz="1600" dirty="0" err="1" smtClean="0"/>
              <a:t>manopera</a:t>
            </a:r>
            <a:r>
              <a:rPr lang="en-US" sz="1600" dirty="0" smtClean="0"/>
              <a:t> </a:t>
            </a:r>
            <a:r>
              <a:rPr lang="en-US" sz="1600" dirty="0" err="1" smtClean="0"/>
              <a:t>penteu</a:t>
            </a:r>
            <a:r>
              <a:rPr lang="en-US" sz="1600" dirty="0" smtClean="0"/>
              <a:t> DACIA (</a:t>
            </a:r>
            <a:r>
              <a:rPr lang="en-US" sz="1600" dirty="0" err="1" smtClean="0"/>
              <a:t>tarifele</a:t>
            </a:r>
            <a:r>
              <a:rPr lang="en-US" sz="1600" dirty="0" smtClean="0"/>
              <a:t> din DMS-</a:t>
            </a:r>
            <a:r>
              <a:rPr lang="en-US" sz="1600" dirty="0" err="1" smtClean="0"/>
              <a:t>ul</a:t>
            </a:r>
            <a:r>
              <a:rPr lang="en-US" sz="1600" dirty="0" smtClean="0"/>
              <a:t> </a:t>
            </a:r>
            <a:r>
              <a:rPr lang="en-US" sz="1600" dirty="0" err="1" smtClean="0"/>
              <a:t>Dealerului</a:t>
            </a:r>
            <a:r>
              <a:rPr lang="en-US" sz="1600" dirty="0" smtClean="0"/>
              <a:t>):</a:t>
            </a: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Configurare</a:t>
            </a:r>
            <a:r>
              <a:rPr lang="fr-FR" dirty="0" smtClean="0"/>
              <a:t> MO in DFM ADMIN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070" y="1428987"/>
            <a:ext cx="7829979" cy="2659833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78088" y="1803749"/>
            <a:ext cx="3781873" cy="2778191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0000-0000070000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5378" y="3692944"/>
            <a:ext cx="6085787" cy="3104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788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19&quot;&gt;&lt;version val=&quot;178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m_eweekdayFirstOfWorkweek val=&quot;2&quot;/&gt;&lt;m_eweekdayFirstOfWeekend val=&quot;7&quot;/&gt;&lt;m_mapectfillschemeMRU&gt;&lt;key val=&quot;0&quot;/&gt;&lt;elem&gt;&lt;m_nPartnerID val=&quot;536&quot;/&gt;&lt;m_nIndex val=&quot;1&quot;/&gt;&lt;/elem&gt;&lt;key val=&quot;4&quot;/&gt;&lt;elem&gt;&lt;m_nPartnerID val=&quot;536&quot;/&gt;&lt;m_nIndex val=&quot;0&quot;/&gt;&lt;/elem&gt;&lt;/m_mapectfillschemeMRU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934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6ryLSkGE20Et8L_dY_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4zCxb5Ck69TMXTJJr_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mx8QsfJEStIqy1Dyhp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NyAojgEkuqsglGMtUb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J0F0Y0mUyj3OUi7RQ0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hPrN7CGkG3kj8JLzj2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3djO.0JkWoi_NLtWQcdQ"/>
</p:tagLst>
</file>

<file path=ppt/theme/theme1.xml><?xml version="1.0" encoding="utf-8"?>
<a:theme xmlns:a="http://schemas.openxmlformats.org/drawingml/2006/main" name="RENAULT">
  <a:themeElements>
    <a:clrScheme name="Groupe Renaul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CC33"/>
      </a:accent1>
      <a:accent2>
        <a:srgbClr val="C80E0E"/>
      </a:accent2>
      <a:accent3>
        <a:srgbClr val="9BC814"/>
      </a:accent3>
      <a:accent4>
        <a:srgbClr val="878785"/>
      </a:accent4>
      <a:accent5>
        <a:srgbClr val="97999B"/>
      </a:accent5>
      <a:accent6>
        <a:srgbClr val="CFC9C4"/>
      </a:accent6>
      <a:hlink>
        <a:srgbClr val="000000"/>
      </a:hlink>
      <a:folHlink>
        <a:srgbClr val="97999B"/>
      </a:folHlink>
    </a:clrScheme>
    <a:fontScheme name="RENAULT">
      <a:majorFont>
        <a:latin typeface="Arial Narrow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600" b="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B_SIGN-FRANCAIS_Garde 1">
        <a:dk1>
          <a:srgbClr val="000000"/>
        </a:dk1>
        <a:lt1>
          <a:srgbClr val="FFFFFF"/>
        </a:lt1>
        <a:dk2>
          <a:srgbClr val="000000"/>
        </a:dk2>
        <a:lt2>
          <a:srgbClr val="8A8E91"/>
        </a:lt2>
        <a:accent1>
          <a:srgbClr val="F7B100"/>
        </a:accent1>
        <a:accent2>
          <a:srgbClr val="CCCCCC"/>
        </a:accent2>
        <a:accent3>
          <a:srgbClr val="FFFFFF"/>
        </a:accent3>
        <a:accent4>
          <a:srgbClr val="000000"/>
        </a:accent4>
        <a:accent5>
          <a:srgbClr val="FAD5AA"/>
        </a:accent5>
        <a:accent6>
          <a:srgbClr val="B9B9B9"/>
        </a:accent6>
        <a:hlink>
          <a:srgbClr val="9BC814"/>
        </a:hlink>
        <a:folHlink>
          <a:srgbClr val="C80E0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G_GROUPE RENAULT_PowerPoint template_4x3 simplified_v2 [Lecture seule]" id="{F1D15506-E32F-4266-B80F-24628D5CCD73}" vid="{BBB569E3-AEE4-4FCC-9D49-715B8420100B}"/>
    </a:ext>
  </a:extLst>
</a:theme>
</file>

<file path=ppt/theme/theme2.xml><?xml version="1.0" encoding="utf-8"?>
<a:theme xmlns:a="http://schemas.openxmlformats.org/drawingml/2006/main" name="ALLIANCE">
  <a:themeElements>
    <a:clrScheme name="">
      <a:dk1>
        <a:srgbClr val="000000"/>
      </a:dk1>
      <a:lt1>
        <a:srgbClr val="808C8C"/>
      </a:lt1>
      <a:dk2>
        <a:srgbClr val="FFAE00"/>
      </a:dk2>
      <a:lt2>
        <a:srgbClr val="FFFFFF"/>
      </a:lt2>
      <a:accent1>
        <a:srgbClr val="BBE0E3"/>
      </a:accent1>
      <a:accent2>
        <a:srgbClr val="414B56"/>
      </a:accent2>
      <a:accent3>
        <a:srgbClr val="C0C5C5"/>
      </a:accent3>
      <a:accent4>
        <a:srgbClr val="000000"/>
      </a:accent4>
      <a:accent5>
        <a:srgbClr val="DAEDEF"/>
      </a:accent5>
      <a:accent6>
        <a:srgbClr val="3A434D"/>
      </a:accent6>
      <a:hlink>
        <a:srgbClr val="009999"/>
      </a:hlink>
      <a:folHlink>
        <a:srgbClr val="99CC00"/>
      </a:folHlink>
    </a:clrScheme>
    <a:fontScheme name="1_Nouvelle pré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NISSAN">
  <a:themeElements>
    <a:clrScheme name="nissanglobalis">
      <a:dk1>
        <a:srgbClr val="000008"/>
      </a:dk1>
      <a:lt1>
        <a:srgbClr val="FFFFFF"/>
      </a:lt1>
      <a:dk2>
        <a:srgbClr val="003F66"/>
      </a:dk2>
      <a:lt2>
        <a:srgbClr val="A5A5A5"/>
      </a:lt2>
      <a:accent1>
        <a:srgbClr val="003F66"/>
      </a:accent1>
      <a:accent2>
        <a:srgbClr val="5795BB"/>
      </a:accent2>
      <a:accent3>
        <a:srgbClr val="CC0000"/>
      </a:accent3>
      <a:accent4>
        <a:srgbClr val="0D928F"/>
      </a:accent4>
      <a:accent5>
        <a:srgbClr val="FFC000"/>
      </a:accent5>
      <a:accent6>
        <a:srgbClr val="5C4C10"/>
      </a:accent6>
      <a:hlink>
        <a:srgbClr val="5795BB"/>
      </a:hlink>
      <a:folHlink>
        <a:srgbClr val="CC99FF"/>
      </a:folHlink>
    </a:clrScheme>
    <a:fontScheme name="nissanglobalis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rgbClr val="EBEBEB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24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ea typeface="ＭＳ Ｐゴシック" charset="-128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2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NissanG-IS2010(CUBE)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issanG-IS2010(CUBE)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issanG-IS2010(CUBE)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issanG-IS2010(CUBE)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issanG-IS2010(CUBE)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issanG-IS2010(CUBE)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issanG-IS2010(CUBE)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issanG-IS2010(CUBE)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テーマ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 Renault" ma:contentTypeID="0x01010066E3D1BD537B466A9FB4715B858074E900899E04623FB743D2ABDA955F9C2B667700CAD705AC64B2B54E8FBF5B4B3AAC6A60" ma:contentTypeVersion="10" ma:contentTypeDescription="Crée un nouveau document Renault" ma:contentTypeScope="" ma:versionID="cd6612b678ce9ac0af526b1b6bea7e1d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006254fffeae83c86a3cc39244db46d4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CP_OwnerOrganization_TaxHT0" minOccurs="0"/>
                <xsd:element ref="ns1:ACP_Renault_SecurityClassification_TaxHT0" minOccurs="0"/>
                <xsd:element ref="ns1:ACP_Renault_RelevantRegion_TaxHT0" minOccurs="0"/>
                <xsd:element ref="ns1:ACP_Renault_DocumentType_TaxHT0" minOccurs="0"/>
                <xsd:element ref="ns1:ACP_Renault_ExpirationDate" minOccurs="0"/>
                <xsd:element ref="ns1:_dlc_Exempt" minOccurs="0"/>
                <xsd:element ref="ns1:_dlc_ExpireDateSaved" minOccurs="0"/>
                <xsd:element ref="ns1:_dlc_Expire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CP_OwnerOrganization_TaxHT0" ma:index="9" nillable="true" ma:taxonomy="true" ma:internalName="ACP_OwnerOrganization_TaxHT0" ma:taxonomyFieldName="ACP_OwnerOrganization" ma:displayName="Entité propriétaire" ma:fieldId="{b2f944ca-d7b4-479f-83be-7a711dbb0010}" ma:sspId="13a7ba8c-7457-4356-a6e9-e6f891afc8fd" ma:termSetId="71a8f656-dccb-4916-8370-91b3a5cc5be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CP_Renault_SecurityClassification_TaxHT0" ma:index="11" nillable="true" ma:taxonomy="true" ma:internalName="ACP_Renault_SecurityClassification_TaxHT0" ma:taxonomyFieldName="ACP_Renault_SecurityClassification" ma:displayName="Classification de Sécurité" ma:fieldId="{1fe3dde9-5599-430d-9249-906cb7133fa1}" ma:sspId="13a7ba8c-7457-4356-a6e9-e6f891afc8fd" ma:termSetId="2e709ad7-3269-4298-a893-fa3c9641f72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CP_Renault_RelevantRegion_TaxHT0" ma:index="13" nillable="true" ma:taxonomy="true" ma:internalName="ACP_Renault_RelevantRegion_TaxHT0" ma:taxonomyFieldName="ACP_Renault_RelevantRegion" ma:displayName="Région Concernée" ma:fieldId="{d64cf655-2379-4890-ab5b-d3321d30528e}" ma:sspId="13a7ba8c-7457-4356-a6e9-e6f891afc8fd" ma:termSetId="4b81f2c5-3f4e-40a0-bf90-01b0cb8bee7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CP_Renault_DocumentType_TaxHT0" ma:index="15" nillable="true" ma:taxonomy="true" ma:internalName="ACP_Renault_DocumentType_TaxHT0" ma:taxonomyFieldName="ACP_Renault_DocumentType" ma:displayName="Type de Document" ma:fieldId="{05c1c4e8-8423-4693-876e-411f294059ad}" ma:sspId="13a7ba8c-7457-4356-a6e9-e6f891afc8fd" ma:termSetId="2d5155ef-5bfc-46c0-bd2b-77b51f4890f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CP_Renault_ExpirationDate" ma:index="16" nillable="true" ma:displayName="Date d'expiration" ma:description="Date d'expiration" ma:format="DateOnly" ma:internalName="ACP_Renault_ExpirationDate">
      <xsd:simpleType>
        <xsd:restriction base="dms:DateTime"/>
      </xsd:simpleType>
    </xsd:element>
    <xsd:element name="_dlc_Exempt" ma:index="17" nillable="true" ma:displayName="Exempt de la stratégie" ma:hidden="true" ma:internalName="_dlc_Exempt" ma:readOnly="true">
      <xsd:simpleType>
        <xsd:restriction base="dms:Unknown"/>
      </xsd:simpleType>
    </xsd:element>
    <xsd:element name="_dlc_ExpireDateSaved" ma:index="18" nillable="true" ma:displayName="Date d’expiration d’origine" ma:hidden="true" ma:internalName="_dlc_ExpireDateSaved" ma:readOnly="true">
      <xsd:simpleType>
        <xsd:restriction base="dms:DateTime"/>
      </xsd:simpleType>
    </xsd:element>
    <xsd:element name="_dlc_ExpireDate" ma:index="19" nillable="true" ma:displayName="Date d’expiration" ma:description="" ma:hidden="true" ma:indexed="true" ma:internalName="_dlc_ExpireDat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CP_Renault_ExpirationDate xmlns="http://schemas.microsoft.com/sharepoint/v3" xsi:nil="true"/>
    <ACP_Renault_RelevantRegion_TaxHT0 xmlns="http://schemas.microsoft.com/sharepoint/v3">
      <Terms xmlns="http://schemas.microsoft.com/office/infopath/2007/PartnerControls"/>
    </ACP_Renault_RelevantRegion_TaxHT0>
    <ACP_Renault_DocumentType_TaxHT0 xmlns="http://schemas.microsoft.com/sharepoint/v3">
      <Terms xmlns="http://schemas.microsoft.com/office/infopath/2007/PartnerControls"/>
    </ACP_Renault_DocumentType_TaxHT0>
    <ACP_OwnerOrganization_TaxHT0 xmlns="http://schemas.microsoft.com/sharepoint/v3">
      <Terms xmlns="http://schemas.microsoft.com/office/infopath/2007/PartnerControls"/>
    </ACP_OwnerOrganization_TaxHT0>
    <ACP_Renault_SecurityClassification_TaxHT0 xmlns="http://schemas.microsoft.com/sharepoint/v3">
      <Terms xmlns="http://schemas.microsoft.com/office/infopath/2007/PartnerControls"/>
    </ACP_Renault_SecurityClassification_TaxHT0>
  </documentManagement>
</p:properties>
</file>

<file path=customXml/item4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Assembly>Microsoft.Office.Policy, Version=14.0.0.0, Culture=neutral, PublicKeyToken=71e9bce111e9429c</Assembly>
    <Class>Microsoft.Office.RecordsManagement.Internal.UpdateExpireDate</Class>
    <Data/>
    <Filter/>
  </Receiver>
  <Receiver>
    <Name>Content Type Event Receiver</Name>
    <Synchronization>Asynchronous</Synchronization>
    <Type>10503</Type>
    <SequenceNumber>1000</SequenceNumber>
    <Assembly>RNAlliance.SharePoint.ACP.Layers, Version=1.0.0.0, Culture=neutral, PublicKeyToken=e2530ddecd8f1478</Assembly>
    <Class>RNAlliance.SharePoint.ACP.Layers.Service.BaseCopyEventReceivers</Class>
    <Data/>
    <Filter/>
  </Receiver>
</spe:Receivers>
</file>

<file path=customXml/item5.xml><?xml version="1.0" encoding="utf-8"?>
<?mso-contentType ?>
<p:Policy xmlns:p="office.server.policy" id="" local="true">
  <p:Name>Renault Document</p:Name>
  <p:Description/>
  <p:Statement/>
  <p:PolicyItems>
    <p:PolicyItem featureId="Microsoft.Office.RecordsManagement.PolicyFeatures.Expiration" staticId="0x01010066E3D1BD537B466A9FB4715B858074E900899E04623FB743D2ABDA955F9C2B6677|-1952929929" UniqueId="a90b4df0-0812-4b0a-9bef-ffd6453ae024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Microsoft.Office.RecordsManagement.PolicyFeatures.Expiration.Formula.BuiltIn">
                  <number>1</number>
                  <property>ACP_Renault_ExpirationDate</property>
                  <propertyId>63fe6de3-83a0-4dfd-99d4-8fbae694afa0</propertyId>
                  <period>days</period>
                </formula>
                <action type="workflow" id="b524aca4-6be0-42c3-a0dc-02dc0c28c3b9"/>
              </data>
            </stages>
          </Schedule>
        </Schedules>
      </p:CustomData>
    </p:PolicyItem>
  </p:PolicyItems>
</p:Policy>
</file>

<file path=customXml/itemProps1.xml><?xml version="1.0" encoding="utf-8"?>
<ds:datastoreItem xmlns:ds="http://schemas.openxmlformats.org/officeDocument/2006/customXml" ds:itemID="{B95ECC5F-CE47-4431-8CB4-C879D841F7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6318D44-5B1E-44F3-B75A-51656EDE001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E5A3C8A-BC77-4305-9A07-5433304B1208}">
  <ds:schemaRefs>
    <ds:schemaRef ds:uri="http://schemas.microsoft.com/office/infopath/2007/PartnerControls"/>
    <ds:schemaRef ds:uri="http://www.w3.org/XML/1998/namespace"/>
    <ds:schemaRef ds:uri="http://purl.org/dc/dcmitype/"/>
    <ds:schemaRef ds:uri="http://schemas.microsoft.com/office/2006/documentManagement/types"/>
    <ds:schemaRef ds:uri="http://purl.org/dc/elements/1.1/"/>
    <ds:schemaRef ds:uri="http://schemas.microsoft.com/sharepoint/v3"/>
    <ds:schemaRef ds:uri="http://schemas.openxmlformats.org/package/2006/metadata/core-properties"/>
    <ds:schemaRef ds:uri="http://purl.org/dc/terms/"/>
    <ds:schemaRef ds:uri="http://schemas.microsoft.com/office/2006/metadata/properties"/>
  </ds:schemaRefs>
</ds:datastoreItem>
</file>

<file path=customXml/itemProps4.xml><?xml version="1.0" encoding="utf-8"?>
<ds:datastoreItem xmlns:ds="http://schemas.openxmlformats.org/officeDocument/2006/customXml" ds:itemID="{4D1E279A-D1EC-4612-8BDD-E7C53747C9BD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DCBF41D9-CE8E-4279-9525-CA154D889390}">
  <ds:schemaRefs>
    <ds:schemaRef ds:uri="office.server.polic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688</TotalTime>
  <Words>549</Words>
  <Application>Microsoft Office PowerPoint</Application>
  <PresentationFormat>Personnalisé</PresentationFormat>
  <Paragraphs>117</Paragraphs>
  <Slides>1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26" baseType="lpstr">
      <vt:lpstr>Arial Unicode MS</vt:lpstr>
      <vt:lpstr>MS PGothic</vt:lpstr>
      <vt:lpstr>MS PGothic</vt:lpstr>
      <vt:lpstr>SimSun</vt:lpstr>
      <vt:lpstr>Adobe Fan Heiti Std B</vt:lpstr>
      <vt:lpstr>Arial</vt:lpstr>
      <vt:lpstr>Arial Narrow</vt:lpstr>
      <vt:lpstr>HGS創英角ｺﾞｼｯｸUB</vt:lpstr>
      <vt:lpstr>NissanAG-Medium</vt:lpstr>
      <vt:lpstr>Verdana</vt:lpstr>
      <vt:lpstr>Wingdings</vt:lpstr>
      <vt:lpstr>RENAULT</vt:lpstr>
      <vt:lpstr>ALLIANCE</vt:lpstr>
      <vt:lpstr>NISSAN</vt:lpstr>
      <vt:lpstr>think-cell Slide</vt:lpstr>
      <vt:lpstr>dfm web romaniA  preGATIRE INSTALRE SI IMPLEMENTARE</vt:lpstr>
      <vt:lpstr>REZUMAT ACTIUNI</vt:lpstr>
      <vt:lpstr>Format cerere  csr</vt:lpstr>
      <vt:lpstr>Verificari prérequis la nivel pc utilizator</vt:lpstr>
      <vt:lpstr>Instalare componentE si kit vectury</vt:lpstr>
      <vt:lpstr>ConfiguraRI local hosts</vt:lpstr>
      <vt:lpstr>Parametraje DMS</vt:lpstr>
      <vt:lpstr>configurari « DMS » in DFM ADMIN</vt:lpstr>
      <vt:lpstr>Configurare MO in DFM ADMIN</vt:lpstr>
      <vt:lpstr>Configurare utilizatori in DFM ADMIN</vt:lpstr>
      <vt:lpstr>COnfigurare prestatii SUPLIMENTARE in DFM ADMIN</vt:lpstr>
    </vt:vector>
  </TitlesOfParts>
  <Company>Corpora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タイトル</dc:title>
  <dc:creator>KATOU, JUN</dc:creator>
  <cp:lastModifiedBy>Gherghe Laura</cp:lastModifiedBy>
  <cp:revision>5914</cp:revision>
  <cp:lastPrinted>2017-09-28T15:40:58Z</cp:lastPrinted>
  <dcterms:created xsi:type="dcterms:W3CDTF">2010-04-14T05:56:08Z</dcterms:created>
  <dcterms:modified xsi:type="dcterms:W3CDTF">2018-11-01T12:2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タイトル</vt:lpwstr>
  </property>
  <property fmtid="{D5CDD505-2E9C-101B-9397-08002B2CF9AE}" pid="11" name="Event">
    <vt:lpwstr/>
  </property>
  <property fmtid="{D5CDD505-2E9C-101B-9397-08002B2CF9AE}" pid="12" name="Delivery Date">
    <vt:lpwstr/>
  </property>
  <property fmtid="{D5CDD505-2E9C-101B-9397-08002B2CF9AE}" pid="13" name="_AdHocReviewCycleID">
    <vt:i4>-2006343308</vt:i4>
  </property>
  <property fmtid="{D5CDD505-2E9C-101B-9397-08002B2CF9AE}" pid="14" name="_NewReviewCycle">
    <vt:lpwstr/>
  </property>
  <property fmtid="{D5CDD505-2E9C-101B-9397-08002B2CF9AE}" pid="15" name="_EmailSubject">
    <vt:lpwstr>Actiuni necesare pentru implementarea DFM Web in reteaua GITS</vt:lpwstr>
  </property>
  <property fmtid="{D5CDD505-2E9C-101B-9397-08002B2CF9AE}" pid="16" name="_AuthorEmail">
    <vt:lpwstr>laura.gherghe@renault.com</vt:lpwstr>
  </property>
  <property fmtid="{D5CDD505-2E9C-101B-9397-08002B2CF9AE}" pid="17" name="_AuthorEmailDisplayName">
    <vt:lpwstr>Gherghe Laura</vt:lpwstr>
  </property>
  <property fmtid="{D5CDD505-2E9C-101B-9397-08002B2CF9AE}" pid="18" name="_PreviousAdHocReviewCycleID">
    <vt:i4>-1656814934</vt:i4>
  </property>
  <property fmtid="{D5CDD505-2E9C-101B-9397-08002B2CF9AE}" pid="19" name="_dlc_policyId">
    <vt:lpwstr>0x01010066E3D1BD537B466A9FB4715B858074E900899E04623FB743D2ABDA955F9C2B6677|-1952929929</vt:lpwstr>
  </property>
  <property fmtid="{D5CDD505-2E9C-101B-9397-08002B2CF9AE}" pid="20" name="ContentTypeId">
    <vt:lpwstr>0x01010066E3D1BD537B466A9FB4715B858074E900899E04623FB743D2ABDA955F9C2B667700CAD705AC64B2B54E8FBF5B4B3AAC6A60</vt:lpwstr>
  </property>
  <property fmtid="{D5CDD505-2E9C-101B-9397-08002B2CF9AE}" pid="21" name="ItemRetentionFormula">
    <vt:lpwstr>&lt;formula id="Microsoft.Office.RecordsManagement.PolicyFeatures.Expiration.Formula.BuiltIn"&gt;&lt;number&gt;1&lt;/number&gt;&lt;property&gt;ACP_Renault_ExpirationDate&lt;/property&gt;&lt;propertyId&gt;63fe6de3-83a0-4dfd-99d4-8fbae694afa0&lt;/propertyId&gt;&lt;period&gt;days&lt;/period&gt;&lt;/formula&gt;</vt:lpwstr>
  </property>
  <property fmtid="{D5CDD505-2E9C-101B-9397-08002B2CF9AE}" pid="22" name="ACP_Renault_DocumentType">
    <vt:lpwstr/>
  </property>
  <property fmtid="{D5CDD505-2E9C-101B-9397-08002B2CF9AE}" pid="23" name="ACP_Renault_RelevantRegion">
    <vt:lpwstr/>
  </property>
  <property fmtid="{D5CDD505-2E9C-101B-9397-08002B2CF9AE}" pid="24" name="ACP_Renault_SecurityClassification">
    <vt:lpwstr/>
  </property>
  <property fmtid="{D5CDD505-2E9C-101B-9397-08002B2CF9AE}" pid="25" name="ACP_OwnerOrganization">
    <vt:lpwstr/>
  </property>
  <property fmtid="{D5CDD505-2E9C-101B-9397-08002B2CF9AE}" pid="26" name="TaxCatchAll">
    <vt:lpwstr/>
  </property>
</Properties>
</file>